
<file path=[Content_Types].xml><?xml version="1.0" encoding="utf-8"?>
<Types xmlns="http://schemas.openxmlformats.org/package/2006/content-types">
  <Default Extension="jpeg" ContentType="image/jpeg"/>
  <Default Extension="xlsx" ContentType="application/vnd.openxmlformats-officedocument.spreadsheetml.sheet"/>
  <Default Extension="png" ContentType="image/png"/>
  <Default Extension="gif" ContentType="image/gif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9"/>
  </p:notesMasterIdLst>
  <p:sldIdLst>
    <p:sldId id="256" r:id="rId3"/>
    <p:sldId id="1675" r:id="rId4"/>
    <p:sldId id="1684" r:id="rId5"/>
    <p:sldId id="1681" r:id="rId6"/>
    <p:sldId id="1695" r:id="rId7"/>
    <p:sldId id="1677" r:id="rId8"/>
    <p:sldId id="1739" r:id="rId10"/>
    <p:sldId id="1735" r:id="rId11"/>
    <p:sldId id="1780" r:id="rId12"/>
    <p:sldId id="1688" r:id="rId13"/>
    <p:sldId id="1692" r:id="rId14"/>
  </p:sldIdLst>
  <p:sldSz cx="12192000" cy="6858000"/>
  <p:notesSz cx="6858000" cy="9144000"/>
  <p:custDataLst>
    <p:tags r:id="rId1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4B4B"/>
    <a:srgbClr val="AEAEAE"/>
    <a:srgbClr val="DC6E00"/>
    <a:srgbClr val="FEA700"/>
    <a:srgbClr val="FAF7D4"/>
    <a:srgbClr val="1A9173"/>
    <a:srgbClr val="06C2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93" d="100"/>
          <a:sy n="93" d="100"/>
        </p:scale>
        <p:origin x="84" y="5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386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8" Type="http://schemas.openxmlformats.org/officeDocument/2006/relationships/tags" Target="tags/tag186.xml"/><Relationship Id="rId17" Type="http://schemas.openxmlformats.org/officeDocument/2006/relationships/tableStyles" Target="tableStyles.xml"/><Relationship Id="rId16" Type="http://schemas.openxmlformats.org/officeDocument/2006/relationships/viewProps" Target="viewProps.xml"/><Relationship Id="rId15" Type="http://schemas.openxmlformats.org/officeDocument/2006/relationships/presProps" Target="presProps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Workbook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Workbook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工作表1!$B$1</c:f>
              <c:strCache>
                <c:ptCount val="1"/>
                <c:pt idx="0">
                  <c:v>销售额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elete val="1"/>
          </c:dLbls>
          <c:cat>
            <c:strRef>
              <c:f>工作表1!$A$2:$A$5</c:f>
              <c:strCache>
                <c:ptCount val="4"/>
                <c:pt idx="0">
                  <c:v>第一季度</c:v>
                </c:pt>
                <c:pt idx="1">
                  <c:v>第二季度</c:v>
                </c:pt>
                <c:pt idx="2">
                  <c:v>第三季度</c:v>
                </c:pt>
                <c:pt idx="3">
                  <c:v>第四季度</c:v>
                </c:pt>
              </c:strCache>
            </c:strRef>
          </c:cat>
          <c:val>
            <c:numRef>
              <c:f>工作表1!$B$2:$B$5</c:f>
              <c:numCache>
                <c:formatCode>0%</c:formatCode>
                <c:ptCount val="4"/>
                <c:pt idx="0">
                  <c:v>0.2</c:v>
                </c:pt>
                <c:pt idx="1">
                  <c:v>0.35</c:v>
                </c:pt>
                <c:pt idx="2">
                  <c:v>0.25</c:v>
                </c:pt>
                <c:pt idx="3">
                  <c:v>0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工作表1!$B$1</c:f>
              <c:strCache>
                <c:ptCount val="1"/>
                <c:pt idx="0">
                  <c:v>销售额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elete val="1"/>
          </c:dLbls>
          <c:cat>
            <c:strRef>
              <c:f>工作表1!$A$2:$A$5</c:f>
              <c:strCache>
                <c:ptCount val="4"/>
                <c:pt idx="0">
                  <c:v>第一季度</c:v>
                </c:pt>
                <c:pt idx="1">
                  <c:v>第二季度</c:v>
                </c:pt>
                <c:pt idx="2">
                  <c:v>第三季度</c:v>
                </c:pt>
                <c:pt idx="3">
                  <c:v>第四季度</c:v>
                </c:pt>
              </c:strCache>
            </c:strRef>
          </c:cat>
          <c:val>
            <c:numRef>
              <c:f>工作表1!$B$2:$B$5</c:f>
              <c:numCache>
                <c:formatCode>0%</c:formatCode>
                <c:ptCount val="4"/>
                <c:pt idx="0">
                  <c:v>0.2</c:v>
                </c:pt>
                <c:pt idx="1">
                  <c:v>0.35</c:v>
                </c:pt>
                <c:pt idx="2">
                  <c:v>0.25</c:v>
                </c:pt>
                <c:pt idx="3">
                  <c:v>0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工作表1!$B$1</c:f>
              <c:strCache>
                <c:ptCount val="1"/>
                <c:pt idx="0">
                  <c:v>销售额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elete val="1"/>
          </c:dLbls>
          <c:cat>
            <c:strRef>
              <c:f>工作表1!$A$2:$A$5</c:f>
              <c:strCache>
                <c:ptCount val="4"/>
                <c:pt idx="0">
                  <c:v>第一季度</c:v>
                </c:pt>
                <c:pt idx="1">
                  <c:v>第二季度</c:v>
                </c:pt>
                <c:pt idx="2">
                  <c:v>第三季度</c:v>
                </c:pt>
                <c:pt idx="3">
                  <c:v>第四季度</c:v>
                </c:pt>
              </c:strCache>
            </c:strRef>
          </c:cat>
          <c:val>
            <c:numRef>
              <c:f>工作表1!$B$2:$B$5</c:f>
              <c:numCache>
                <c:formatCode>0%</c:formatCode>
                <c:ptCount val="4"/>
                <c:pt idx="0">
                  <c:v>0.2</c:v>
                </c:pt>
                <c:pt idx="1">
                  <c:v>0.35</c:v>
                </c:pt>
                <c:pt idx="2">
                  <c:v>0.25</c:v>
                </c:pt>
                <c:pt idx="3">
                  <c:v>0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工作表1!$B$1</c:f>
              <c:strCache>
                <c:ptCount val="1"/>
                <c:pt idx="0">
                  <c:v>销售额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elete val="1"/>
          </c:dLbls>
          <c:cat>
            <c:strRef>
              <c:f>工作表1!$A$2:$A$5</c:f>
              <c:strCache>
                <c:ptCount val="4"/>
                <c:pt idx="0">
                  <c:v>第一季度</c:v>
                </c:pt>
                <c:pt idx="1">
                  <c:v>第二季度</c:v>
                </c:pt>
                <c:pt idx="2">
                  <c:v>第三季度</c:v>
                </c:pt>
                <c:pt idx="3">
                  <c:v>第四季度</c:v>
                </c:pt>
              </c:strCache>
            </c:strRef>
          </c:cat>
          <c:val>
            <c:numRef>
              <c:f>工作表1!$B$2:$B$5</c:f>
              <c:numCache>
                <c:formatCode>0%</c:formatCode>
                <c:ptCount val="4"/>
                <c:pt idx="0">
                  <c:v>0.2</c:v>
                </c:pt>
                <c:pt idx="1">
                  <c:v>0.35</c:v>
                </c:pt>
                <c:pt idx="2">
                  <c:v>0.25</c:v>
                </c:pt>
                <c:pt idx="3">
                  <c:v>0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EAE7A9-AFAC-43DF-8CA2-C8CF00B09D56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7FC556-CA6E-439C-B5EC-B44A435AC7F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，让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设计简单起来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,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Mak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owerPoint Design Simple!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，让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设计简单起来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,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Mak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owerPoint Design Simple!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，让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设计简单起来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,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Mak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owerPoint Design Simple!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5" Type="http://schemas.microsoft.com/office/2007/relationships/hdphoto" Target="../media/image3.wdp"/><Relationship Id="rId4" Type="http://schemas.openxmlformats.org/officeDocument/2006/relationships/image" Target="../media/image2.png"/><Relationship Id="rId3" Type="http://schemas.openxmlformats.org/officeDocument/2006/relationships/hyperlink" Target="http://www.officeplus.cn/Template/Home.shtml" TargetMode="External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7" Type="http://schemas.microsoft.com/office/2007/relationships/hdphoto" Target="../media/image3.wdp"/><Relationship Id="rId6" Type="http://schemas.openxmlformats.org/officeDocument/2006/relationships/image" Target="../media/image2.png"/><Relationship Id="rId5" Type="http://schemas.openxmlformats.org/officeDocument/2006/relationships/hyperlink" Target="http://www.officeplus.cn/Template/Home.shtml" TargetMode="External"/><Relationship Id="rId4" Type="http://schemas.openxmlformats.org/officeDocument/2006/relationships/image" Target="../media/image6.png"/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66" name="Rectangle 9674"/>
          <p:cNvSpPr>
            <a:spLocks noChangeArrowheads="1"/>
          </p:cNvSpPr>
          <p:nvPr/>
        </p:nvSpPr>
        <p:spPr bwMode="auto">
          <a:xfrm>
            <a:off x="-1588" y="0"/>
            <a:ext cx="12193588" cy="69135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grpSp>
        <p:nvGrpSpPr>
          <p:cNvPr id="2" name="组合 1"/>
          <p:cNvGrpSpPr/>
          <p:nvPr userDrawn="1"/>
        </p:nvGrpSpPr>
        <p:grpSpPr>
          <a:xfrm>
            <a:off x="3365501" y="893687"/>
            <a:ext cx="5461000" cy="4588780"/>
            <a:chOff x="3743325" y="1325563"/>
            <a:chExt cx="4949825" cy="4159250"/>
          </a:xfrm>
        </p:grpSpPr>
        <p:sp>
          <p:nvSpPr>
            <p:cNvPr id="19867" name="Freeform 9675"/>
            <p:cNvSpPr/>
            <p:nvPr/>
          </p:nvSpPr>
          <p:spPr bwMode="auto">
            <a:xfrm>
              <a:off x="4579938" y="1325563"/>
              <a:ext cx="3162300" cy="4159250"/>
            </a:xfrm>
            <a:custGeom>
              <a:avLst/>
              <a:gdLst>
                <a:gd name="T0" fmla="*/ 1109 w 1667"/>
                <a:gd name="T1" fmla="*/ 572 h 2192"/>
                <a:gd name="T2" fmla="*/ 1109 w 1667"/>
                <a:gd name="T3" fmla="*/ 172 h 2192"/>
                <a:gd name="T4" fmla="*/ 1162 w 1667"/>
                <a:gd name="T5" fmla="*/ 172 h 2192"/>
                <a:gd name="T6" fmla="*/ 1213 w 1667"/>
                <a:gd name="T7" fmla="*/ 100 h 2192"/>
                <a:gd name="T8" fmla="*/ 1213 w 1667"/>
                <a:gd name="T9" fmla="*/ 52 h 2192"/>
                <a:gd name="T10" fmla="*/ 1162 w 1667"/>
                <a:gd name="T11" fmla="*/ 0 h 2192"/>
                <a:gd name="T12" fmla="*/ 516 w 1667"/>
                <a:gd name="T13" fmla="*/ 0 h 2192"/>
                <a:gd name="T14" fmla="*/ 445 w 1667"/>
                <a:gd name="T15" fmla="*/ 52 h 2192"/>
                <a:gd name="T16" fmla="*/ 445 w 1667"/>
                <a:gd name="T17" fmla="*/ 100 h 2192"/>
                <a:gd name="T18" fmla="*/ 516 w 1667"/>
                <a:gd name="T19" fmla="*/ 172 h 2192"/>
                <a:gd name="T20" fmla="*/ 553 w 1667"/>
                <a:gd name="T21" fmla="*/ 172 h 2192"/>
                <a:gd name="T22" fmla="*/ 553 w 1667"/>
                <a:gd name="T23" fmla="*/ 571 h 2192"/>
                <a:gd name="T24" fmla="*/ 0 w 1667"/>
                <a:gd name="T25" fmla="*/ 1358 h 2192"/>
                <a:gd name="T26" fmla="*/ 837 w 1667"/>
                <a:gd name="T27" fmla="*/ 2192 h 2192"/>
                <a:gd name="T28" fmla="*/ 1667 w 1667"/>
                <a:gd name="T29" fmla="*/ 1358 h 2192"/>
                <a:gd name="T30" fmla="*/ 1109 w 1667"/>
                <a:gd name="T31" fmla="*/ 572 h 2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67" h="2192">
                  <a:moveTo>
                    <a:pt x="1109" y="572"/>
                  </a:moveTo>
                  <a:cubicBezTo>
                    <a:pt x="1109" y="172"/>
                    <a:pt x="1109" y="172"/>
                    <a:pt x="1109" y="172"/>
                  </a:cubicBezTo>
                  <a:cubicBezTo>
                    <a:pt x="1162" y="172"/>
                    <a:pt x="1162" y="172"/>
                    <a:pt x="1162" y="172"/>
                  </a:cubicBezTo>
                  <a:cubicBezTo>
                    <a:pt x="1196" y="172"/>
                    <a:pt x="1213" y="134"/>
                    <a:pt x="1213" y="100"/>
                  </a:cubicBezTo>
                  <a:cubicBezTo>
                    <a:pt x="1213" y="52"/>
                    <a:pt x="1213" y="52"/>
                    <a:pt x="1213" y="52"/>
                  </a:cubicBezTo>
                  <a:cubicBezTo>
                    <a:pt x="1213" y="18"/>
                    <a:pt x="1196" y="0"/>
                    <a:pt x="1162" y="0"/>
                  </a:cubicBezTo>
                  <a:cubicBezTo>
                    <a:pt x="516" y="0"/>
                    <a:pt x="516" y="0"/>
                    <a:pt x="516" y="0"/>
                  </a:cubicBezTo>
                  <a:cubicBezTo>
                    <a:pt x="482" y="0"/>
                    <a:pt x="445" y="18"/>
                    <a:pt x="445" y="52"/>
                  </a:cubicBezTo>
                  <a:cubicBezTo>
                    <a:pt x="445" y="100"/>
                    <a:pt x="445" y="100"/>
                    <a:pt x="445" y="100"/>
                  </a:cubicBezTo>
                  <a:cubicBezTo>
                    <a:pt x="445" y="134"/>
                    <a:pt x="482" y="172"/>
                    <a:pt x="516" y="172"/>
                  </a:cubicBezTo>
                  <a:cubicBezTo>
                    <a:pt x="553" y="172"/>
                    <a:pt x="553" y="172"/>
                    <a:pt x="553" y="172"/>
                  </a:cubicBezTo>
                  <a:cubicBezTo>
                    <a:pt x="553" y="571"/>
                    <a:pt x="553" y="571"/>
                    <a:pt x="553" y="571"/>
                  </a:cubicBezTo>
                  <a:cubicBezTo>
                    <a:pt x="229" y="685"/>
                    <a:pt x="0" y="994"/>
                    <a:pt x="0" y="1358"/>
                  </a:cubicBezTo>
                  <a:cubicBezTo>
                    <a:pt x="0" y="1819"/>
                    <a:pt x="376" y="2192"/>
                    <a:pt x="837" y="2192"/>
                  </a:cubicBezTo>
                  <a:cubicBezTo>
                    <a:pt x="1298" y="2192"/>
                    <a:pt x="1667" y="1819"/>
                    <a:pt x="1667" y="1358"/>
                  </a:cubicBezTo>
                  <a:cubicBezTo>
                    <a:pt x="1667" y="996"/>
                    <a:pt x="1433" y="688"/>
                    <a:pt x="1109" y="572"/>
                  </a:cubicBezTo>
                  <a:close/>
                </a:path>
              </a:pathLst>
            </a:custGeom>
            <a:noFill/>
            <a:ln w="30163" cap="flat">
              <a:solidFill>
                <a:srgbClr val="D9D6A8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868" name="Rectangle 9676"/>
            <p:cNvSpPr>
              <a:spLocks noChangeArrowheads="1"/>
            </p:cNvSpPr>
            <p:nvPr userDrawn="1"/>
          </p:nvSpPr>
          <p:spPr bwMode="auto">
            <a:xfrm>
              <a:off x="3743325" y="3104088"/>
              <a:ext cx="4949825" cy="12160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3521075" y="3719272"/>
            <a:ext cx="5149850" cy="459898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9802" name="标题 1"/>
          <p:cNvSpPr>
            <a:spLocks noGrp="1"/>
          </p:cNvSpPr>
          <p:nvPr>
            <p:ph type="ctrTitle"/>
          </p:nvPr>
        </p:nvSpPr>
        <p:spPr>
          <a:xfrm>
            <a:off x="3521075" y="2716611"/>
            <a:ext cx="5149850" cy="1117451"/>
          </a:xfrm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9870" name="Rectangle 9678"/>
          <p:cNvSpPr>
            <a:spLocks noChangeArrowheads="1"/>
          </p:cNvSpPr>
          <p:nvPr/>
        </p:nvSpPr>
        <p:spPr bwMode="auto">
          <a:xfrm>
            <a:off x="6000750" y="2600702"/>
            <a:ext cx="230188" cy="38100"/>
          </a:xfrm>
          <a:prstGeom prst="rect">
            <a:avLst/>
          </a:prstGeom>
          <a:solidFill>
            <a:srgbClr val="D9D6A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9871" name="Rectangle 9679"/>
          <p:cNvSpPr>
            <a:spLocks noChangeArrowheads="1"/>
          </p:cNvSpPr>
          <p:nvPr/>
        </p:nvSpPr>
        <p:spPr bwMode="auto">
          <a:xfrm>
            <a:off x="6097588" y="2507039"/>
            <a:ext cx="36513" cy="228600"/>
          </a:xfrm>
          <a:prstGeom prst="rect">
            <a:avLst/>
          </a:prstGeom>
          <a:solidFill>
            <a:srgbClr val="D9D6A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grpSp>
        <p:nvGrpSpPr>
          <p:cNvPr id="3" name="组合 2"/>
          <p:cNvGrpSpPr/>
          <p:nvPr userDrawn="1"/>
        </p:nvGrpSpPr>
        <p:grpSpPr>
          <a:xfrm>
            <a:off x="9028776" y="893687"/>
            <a:ext cx="1294749" cy="1375305"/>
            <a:chOff x="9263063" y="1273175"/>
            <a:chExt cx="1403350" cy="1490663"/>
          </a:xfrm>
        </p:grpSpPr>
        <p:sp>
          <p:nvSpPr>
            <p:cNvPr id="9792" name="Line 9680"/>
            <p:cNvSpPr>
              <a:spLocks noChangeShapeType="1"/>
            </p:cNvSpPr>
            <p:nvPr/>
          </p:nvSpPr>
          <p:spPr bwMode="auto">
            <a:xfrm flipH="1">
              <a:off x="9645650" y="1273175"/>
              <a:ext cx="1020763" cy="992188"/>
            </a:xfrm>
            <a:prstGeom prst="line">
              <a:avLst/>
            </a:prstGeom>
            <a:noFill/>
            <a:ln w="7938" cap="flat">
              <a:solidFill>
                <a:srgbClr val="D9D6A8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793" name="Line 9681"/>
            <p:cNvSpPr>
              <a:spLocks noChangeShapeType="1"/>
            </p:cNvSpPr>
            <p:nvPr/>
          </p:nvSpPr>
          <p:spPr bwMode="auto">
            <a:xfrm flipH="1">
              <a:off x="9263063" y="1768475"/>
              <a:ext cx="1017588" cy="995363"/>
            </a:xfrm>
            <a:prstGeom prst="line">
              <a:avLst/>
            </a:prstGeom>
            <a:noFill/>
            <a:ln w="7938" cap="flat">
              <a:solidFill>
                <a:srgbClr val="D9D6A8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grpSp>
        <p:nvGrpSpPr>
          <p:cNvPr id="4" name="组合 3"/>
          <p:cNvGrpSpPr/>
          <p:nvPr userDrawn="1"/>
        </p:nvGrpSpPr>
        <p:grpSpPr>
          <a:xfrm>
            <a:off x="1602707" y="3133423"/>
            <a:ext cx="1337733" cy="1419356"/>
            <a:chOff x="1752600" y="4395788"/>
            <a:chExt cx="1404938" cy="1490662"/>
          </a:xfrm>
        </p:grpSpPr>
        <p:sp>
          <p:nvSpPr>
            <p:cNvPr id="9794" name="Line 9682"/>
            <p:cNvSpPr>
              <a:spLocks noChangeShapeType="1"/>
            </p:cNvSpPr>
            <p:nvPr/>
          </p:nvSpPr>
          <p:spPr bwMode="auto">
            <a:xfrm flipH="1">
              <a:off x="2138363" y="4395788"/>
              <a:ext cx="1019175" cy="993775"/>
            </a:xfrm>
            <a:prstGeom prst="line">
              <a:avLst/>
            </a:prstGeom>
            <a:noFill/>
            <a:ln w="7938" cap="flat">
              <a:solidFill>
                <a:srgbClr val="D9D6A8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795" name="Line 9683"/>
            <p:cNvSpPr>
              <a:spLocks noChangeShapeType="1"/>
            </p:cNvSpPr>
            <p:nvPr/>
          </p:nvSpPr>
          <p:spPr bwMode="auto">
            <a:xfrm flipH="1">
              <a:off x="1752600" y="4892675"/>
              <a:ext cx="1019175" cy="993775"/>
            </a:xfrm>
            <a:prstGeom prst="line">
              <a:avLst/>
            </a:prstGeom>
            <a:noFill/>
            <a:ln w="7938" cap="flat">
              <a:solidFill>
                <a:srgbClr val="D9D6A8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17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5011739" y="4358347"/>
            <a:ext cx="2168524" cy="37147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8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5013326" y="4729822"/>
            <a:ext cx="2168524" cy="37147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19" name="组合 18"/>
          <p:cNvGrpSpPr/>
          <p:nvPr userDrawn="1"/>
        </p:nvGrpSpPr>
        <p:grpSpPr>
          <a:xfrm>
            <a:off x="-1254020" y="5504314"/>
            <a:ext cx="6935787" cy="2524125"/>
            <a:chOff x="2405063" y="1201738"/>
            <a:chExt cx="6935787" cy="2524125"/>
          </a:xfrm>
        </p:grpSpPr>
        <p:sp>
          <p:nvSpPr>
            <p:cNvPr id="20" name="Freeform 5"/>
            <p:cNvSpPr/>
            <p:nvPr userDrawn="1"/>
          </p:nvSpPr>
          <p:spPr bwMode="auto">
            <a:xfrm>
              <a:off x="5815013" y="1671638"/>
              <a:ext cx="463550" cy="284163"/>
            </a:xfrm>
            <a:custGeom>
              <a:avLst/>
              <a:gdLst>
                <a:gd name="T0" fmla="*/ 0 w 318"/>
                <a:gd name="T1" fmla="*/ 195 h 195"/>
                <a:gd name="T2" fmla="*/ 318 w 318"/>
                <a:gd name="T3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18" h="195">
                  <a:moveTo>
                    <a:pt x="0" y="195"/>
                  </a:moveTo>
                  <a:cubicBezTo>
                    <a:pt x="47" y="67"/>
                    <a:pt x="190" y="0"/>
                    <a:pt x="318" y="47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Freeform 6"/>
            <p:cNvSpPr/>
            <p:nvPr userDrawn="1"/>
          </p:nvSpPr>
          <p:spPr bwMode="auto">
            <a:xfrm>
              <a:off x="5892800" y="1763713"/>
              <a:ext cx="358775" cy="220663"/>
            </a:xfrm>
            <a:custGeom>
              <a:avLst/>
              <a:gdLst>
                <a:gd name="T0" fmla="*/ 0 w 246"/>
                <a:gd name="T1" fmla="*/ 151 h 151"/>
                <a:gd name="T2" fmla="*/ 246 w 246"/>
                <a:gd name="T3" fmla="*/ 36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6" h="151">
                  <a:moveTo>
                    <a:pt x="0" y="151"/>
                  </a:moveTo>
                  <a:cubicBezTo>
                    <a:pt x="36" y="52"/>
                    <a:pt x="146" y="0"/>
                    <a:pt x="246" y="36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Freeform 7"/>
            <p:cNvSpPr/>
            <p:nvPr userDrawn="1"/>
          </p:nvSpPr>
          <p:spPr bwMode="auto">
            <a:xfrm>
              <a:off x="5972175" y="1858963"/>
              <a:ext cx="250825" cy="153988"/>
            </a:xfrm>
            <a:custGeom>
              <a:avLst/>
              <a:gdLst>
                <a:gd name="T0" fmla="*/ 0 w 173"/>
                <a:gd name="T1" fmla="*/ 106 h 106"/>
                <a:gd name="T2" fmla="*/ 173 w 173"/>
                <a:gd name="T3" fmla="*/ 2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3" h="106">
                  <a:moveTo>
                    <a:pt x="0" y="106"/>
                  </a:moveTo>
                  <a:cubicBezTo>
                    <a:pt x="25" y="36"/>
                    <a:pt x="103" y="0"/>
                    <a:pt x="173" y="25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Freeform 8"/>
            <p:cNvSpPr/>
            <p:nvPr userDrawn="1"/>
          </p:nvSpPr>
          <p:spPr bwMode="auto">
            <a:xfrm>
              <a:off x="6084888" y="1993900"/>
              <a:ext cx="117475" cy="119063"/>
            </a:xfrm>
            <a:custGeom>
              <a:avLst/>
              <a:gdLst>
                <a:gd name="T0" fmla="*/ 72 w 80"/>
                <a:gd name="T1" fmla="*/ 26 h 81"/>
                <a:gd name="T2" fmla="*/ 25 w 80"/>
                <a:gd name="T3" fmla="*/ 8 h 81"/>
                <a:gd name="T4" fmla="*/ 8 w 80"/>
                <a:gd name="T5" fmla="*/ 55 h 81"/>
                <a:gd name="T6" fmla="*/ 55 w 80"/>
                <a:gd name="T7" fmla="*/ 73 h 81"/>
                <a:gd name="T8" fmla="*/ 72 w 80"/>
                <a:gd name="T9" fmla="*/ 2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81">
                  <a:moveTo>
                    <a:pt x="72" y="26"/>
                  </a:moveTo>
                  <a:cubicBezTo>
                    <a:pt x="64" y="8"/>
                    <a:pt x="43" y="0"/>
                    <a:pt x="25" y="8"/>
                  </a:cubicBezTo>
                  <a:cubicBezTo>
                    <a:pt x="7" y="17"/>
                    <a:pt x="0" y="38"/>
                    <a:pt x="8" y="55"/>
                  </a:cubicBezTo>
                  <a:cubicBezTo>
                    <a:pt x="16" y="73"/>
                    <a:pt x="37" y="81"/>
                    <a:pt x="55" y="73"/>
                  </a:cubicBezTo>
                  <a:cubicBezTo>
                    <a:pt x="73" y="64"/>
                    <a:pt x="80" y="43"/>
                    <a:pt x="72" y="26"/>
                  </a:cubicBez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Freeform 9"/>
            <p:cNvSpPr/>
            <p:nvPr userDrawn="1"/>
          </p:nvSpPr>
          <p:spPr bwMode="auto">
            <a:xfrm>
              <a:off x="3705225" y="3251200"/>
              <a:ext cx="417513" cy="419100"/>
            </a:xfrm>
            <a:custGeom>
              <a:avLst/>
              <a:gdLst>
                <a:gd name="T0" fmla="*/ 190 w 286"/>
                <a:gd name="T1" fmla="*/ 233 h 287"/>
                <a:gd name="T2" fmla="*/ 249 w 286"/>
                <a:gd name="T3" fmla="*/ 173 h 287"/>
                <a:gd name="T4" fmla="*/ 247 w 286"/>
                <a:gd name="T5" fmla="*/ 37 h 287"/>
                <a:gd name="T6" fmla="*/ 112 w 286"/>
                <a:gd name="T7" fmla="*/ 38 h 287"/>
                <a:gd name="T8" fmla="*/ 22 w 286"/>
                <a:gd name="T9" fmla="*/ 130 h 287"/>
                <a:gd name="T10" fmla="*/ 23 w 286"/>
                <a:gd name="T11" fmla="*/ 209 h 287"/>
                <a:gd name="T12" fmla="*/ 80 w 286"/>
                <a:gd name="T13" fmla="*/ 265 h 287"/>
                <a:gd name="T14" fmla="*/ 159 w 286"/>
                <a:gd name="T15" fmla="*/ 264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6" h="287">
                  <a:moveTo>
                    <a:pt x="190" y="233"/>
                  </a:moveTo>
                  <a:cubicBezTo>
                    <a:pt x="249" y="173"/>
                    <a:pt x="249" y="173"/>
                    <a:pt x="249" y="173"/>
                  </a:cubicBezTo>
                  <a:cubicBezTo>
                    <a:pt x="286" y="135"/>
                    <a:pt x="285" y="74"/>
                    <a:pt x="247" y="37"/>
                  </a:cubicBezTo>
                  <a:cubicBezTo>
                    <a:pt x="209" y="0"/>
                    <a:pt x="149" y="0"/>
                    <a:pt x="112" y="38"/>
                  </a:cubicBezTo>
                  <a:cubicBezTo>
                    <a:pt x="22" y="130"/>
                    <a:pt x="22" y="130"/>
                    <a:pt x="22" y="130"/>
                  </a:cubicBezTo>
                  <a:cubicBezTo>
                    <a:pt x="0" y="152"/>
                    <a:pt x="1" y="187"/>
                    <a:pt x="23" y="209"/>
                  </a:cubicBezTo>
                  <a:cubicBezTo>
                    <a:pt x="80" y="265"/>
                    <a:pt x="80" y="265"/>
                    <a:pt x="80" y="265"/>
                  </a:cubicBezTo>
                  <a:cubicBezTo>
                    <a:pt x="102" y="287"/>
                    <a:pt x="138" y="286"/>
                    <a:pt x="159" y="264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Freeform 10"/>
            <p:cNvSpPr/>
            <p:nvPr userDrawn="1"/>
          </p:nvSpPr>
          <p:spPr bwMode="auto">
            <a:xfrm>
              <a:off x="3970338" y="3073400"/>
              <a:ext cx="744538" cy="328613"/>
            </a:xfrm>
            <a:custGeom>
              <a:avLst/>
              <a:gdLst>
                <a:gd name="T0" fmla="*/ 0 w 510"/>
                <a:gd name="T1" fmla="*/ 226 h 226"/>
                <a:gd name="T2" fmla="*/ 65 w 510"/>
                <a:gd name="T3" fmla="*/ 159 h 226"/>
                <a:gd name="T4" fmla="*/ 99 w 510"/>
                <a:gd name="T5" fmla="*/ 126 h 226"/>
                <a:gd name="T6" fmla="*/ 266 w 510"/>
                <a:gd name="T7" fmla="*/ 113 h 226"/>
                <a:gd name="T8" fmla="*/ 266 w 510"/>
                <a:gd name="T9" fmla="*/ 113 h 226"/>
                <a:gd name="T10" fmla="*/ 446 w 510"/>
                <a:gd name="T11" fmla="*/ 84 h 226"/>
                <a:gd name="T12" fmla="*/ 510 w 510"/>
                <a:gd name="T13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226">
                  <a:moveTo>
                    <a:pt x="0" y="226"/>
                  </a:moveTo>
                  <a:cubicBezTo>
                    <a:pt x="65" y="159"/>
                    <a:pt x="65" y="159"/>
                    <a:pt x="65" y="159"/>
                  </a:cubicBezTo>
                  <a:cubicBezTo>
                    <a:pt x="99" y="126"/>
                    <a:pt x="99" y="126"/>
                    <a:pt x="99" y="126"/>
                  </a:cubicBezTo>
                  <a:cubicBezTo>
                    <a:pt x="144" y="82"/>
                    <a:pt x="214" y="76"/>
                    <a:pt x="266" y="113"/>
                  </a:cubicBezTo>
                  <a:cubicBezTo>
                    <a:pt x="266" y="113"/>
                    <a:pt x="266" y="113"/>
                    <a:pt x="266" y="113"/>
                  </a:cubicBezTo>
                  <a:cubicBezTo>
                    <a:pt x="324" y="153"/>
                    <a:pt x="403" y="140"/>
                    <a:pt x="446" y="84"/>
                  </a:cubicBezTo>
                  <a:cubicBezTo>
                    <a:pt x="510" y="0"/>
                    <a:pt x="510" y="0"/>
                    <a:pt x="510" y="0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Freeform 11"/>
            <p:cNvSpPr/>
            <p:nvPr userDrawn="1"/>
          </p:nvSpPr>
          <p:spPr bwMode="auto">
            <a:xfrm>
              <a:off x="3833813" y="3343275"/>
              <a:ext cx="200025" cy="195263"/>
            </a:xfrm>
            <a:custGeom>
              <a:avLst/>
              <a:gdLst>
                <a:gd name="T0" fmla="*/ 0 w 137"/>
                <a:gd name="T1" fmla="*/ 0 h 134"/>
                <a:gd name="T2" fmla="*/ 137 w 137"/>
                <a:gd name="T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7" h="134">
                  <a:moveTo>
                    <a:pt x="0" y="0"/>
                  </a:moveTo>
                  <a:cubicBezTo>
                    <a:pt x="2" y="2"/>
                    <a:pt x="137" y="134"/>
                    <a:pt x="137" y="134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" name="Freeform 12"/>
            <p:cNvSpPr/>
            <p:nvPr userDrawn="1"/>
          </p:nvSpPr>
          <p:spPr bwMode="auto">
            <a:xfrm>
              <a:off x="3978275" y="1624013"/>
              <a:ext cx="1622425" cy="1295400"/>
            </a:xfrm>
            <a:custGeom>
              <a:avLst/>
              <a:gdLst>
                <a:gd name="T0" fmla="*/ 1089 w 1113"/>
                <a:gd name="T1" fmla="*/ 554 h 888"/>
                <a:gd name="T2" fmla="*/ 1113 w 1113"/>
                <a:gd name="T3" fmla="*/ 649 h 888"/>
                <a:gd name="T4" fmla="*/ 155 w 1113"/>
                <a:gd name="T5" fmla="*/ 888 h 888"/>
                <a:gd name="T6" fmla="*/ 13 w 1113"/>
                <a:gd name="T7" fmla="*/ 319 h 888"/>
                <a:gd name="T8" fmla="*/ 80 w 1113"/>
                <a:gd name="T9" fmla="*/ 207 h 888"/>
                <a:gd name="T10" fmla="*/ 859 w 1113"/>
                <a:gd name="T11" fmla="*/ 12 h 888"/>
                <a:gd name="T12" fmla="*/ 971 w 1113"/>
                <a:gd name="T13" fmla="*/ 80 h 888"/>
                <a:gd name="T14" fmla="*/ 1066 w 1113"/>
                <a:gd name="T15" fmla="*/ 460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3" h="888">
                  <a:moveTo>
                    <a:pt x="1089" y="554"/>
                  </a:moveTo>
                  <a:cubicBezTo>
                    <a:pt x="1113" y="649"/>
                    <a:pt x="1113" y="649"/>
                    <a:pt x="1113" y="649"/>
                  </a:cubicBezTo>
                  <a:cubicBezTo>
                    <a:pt x="155" y="888"/>
                    <a:pt x="155" y="888"/>
                    <a:pt x="155" y="888"/>
                  </a:cubicBezTo>
                  <a:cubicBezTo>
                    <a:pt x="13" y="319"/>
                    <a:pt x="13" y="319"/>
                    <a:pt x="13" y="319"/>
                  </a:cubicBezTo>
                  <a:cubicBezTo>
                    <a:pt x="0" y="269"/>
                    <a:pt x="30" y="219"/>
                    <a:pt x="80" y="207"/>
                  </a:cubicBezTo>
                  <a:cubicBezTo>
                    <a:pt x="859" y="12"/>
                    <a:pt x="859" y="12"/>
                    <a:pt x="859" y="12"/>
                  </a:cubicBezTo>
                  <a:cubicBezTo>
                    <a:pt x="908" y="0"/>
                    <a:pt x="959" y="30"/>
                    <a:pt x="971" y="80"/>
                  </a:cubicBezTo>
                  <a:cubicBezTo>
                    <a:pt x="1066" y="460"/>
                    <a:pt x="1066" y="460"/>
                    <a:pt x="1066" y="460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" name="Freeform 13"/>
            <p:cNvSpPr/>
            <p:nvPr userDrawn="1"/>
          </p:nvSpPr>
          <p:spPr bwMode="auto">
            <a:xfrm>
              <a:off x="4089400" y="1739900"/>
              <a:ext cx="1385888" cy="1019175"/>
            </a:xfrm>
            <a:custGeom>
              <a:avLst/>
              <a:gdLst>
                <a:gd name="T0" fmla="*/ 929 w 951"/>
                <a:gd name="T1" fmla="*/ 401 h 698"/>
                <a:gd name="T2" fmla="*/ 951 w 951"/>
                <a:gd name="T3" fmla="*/ 490 h 698"/>
                <a:gd name="T4" fmla="*/ 118 w 951"/>
                <a:gd name="T5" fmla="*/ 698 h 698"/>
                <a:gd name="T6" fmla="*/ 7 w 951"/>
                <a:gd name="T7" fmla="*/ 255 h 698"/>
                <a:gd name="T8" fmla="*/ 46 w 951"/>
                <a:gd name="T9" fmla="*/ 189 h 698"/>
                <a:gd name="T10" fmla="*/ 775 w 951"/>
                <a:gd name="T11" fmla="*/ 8 h 698"/>
                <a:gd name="T12" fmla="*/ 840 w 951"/>
                <a:gd name="T13" fmla="*/ 47 h 698"/>
                <a:gd name="T14" fmla="*/ 929 w 951"/>
                <a:gd name="T15" fmla="*/ 401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1" h="698">
                  <a:moveTo>
                    <a:pt x="929" y="401"/>
                  </a:moveTo>
                  <a:cubicBezTo>
                    <a:pt x="951" y="490"/>
                    <a:pt x="951" y="490"/>
                    <a:pt x="951" y="490"/>
                  </a:cubicBezTo>
                  <a:cubicBezTo>
                    <a:pt x="118" y="698"/>
                    <a:pt x="118" y="698"/>
                    <a:pt x="118" y="698"/>
                  </a:cubicBezTo>
                  <a:cubicBezTo>
                    <a:pt x="7" y="255"/>
                    <a:pt x="7" y="255"/>
                    <a:pt x="7" y="255"/>
                  </a:cubicBezTo>
                  <a:cubicBezTo>
                    <a:pt x="0" y="226"/>
                    <a:pt x="17" y="197"/>
                    <a:pt x="46" y="189"/>
                  </a:cubicBezTo>
                  <a:cubicBezTo>
                    <a:pt x="775" y="8"/>
                    <a:pt x="775" y="8"/>
                    <a:pt x="775" y="8"/>
                  </a:cubicBezTo>
                  <a:cubicBezTo>
                    <a:pt x="804" y="0"/>
                    <a:pt x="833" y="18"/>
                    <a:pt x="840" y="47"/>
                  </a:cubicBezTo>
                  <a:cubicBezTo>
                    <a:pt x="929" y="401"/>
                    <a:pt x="929" y="401"/>
                    <a:pt x="929" y="401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" name="Freeform 14"/>
            <p:cNvSpPr/>
            <p:nvPr userDrawn="1"/>
          </p:nvSpPr>
          <p:spPr bwMode="auto">
            <a:xfrm>
              <a:off x="4683125" y="2790825"/>
              <a:ext cx="519113" cy="234950"/>
            </a:xfrm>
            <a:custGeom>
              <a:avLst/>
              <a:gdLst>
                <a:gd name="T0" fmla="*/ 327 w 327"/>
                <a:gd name="T1" fmla="*/ 71 h 148"/>
                <a:gd name="T2" fmla="*/ 18 w 327"/>
                <a:gd name="T3" fmla="*/ 148 h 148"/>
                <a:gd name="T4" fmla="*/ 0 w 327"/>
                <a:gd name="T5" fmla="*/ 77 h 148"/>
                <a:gd name="T6" fmla="*/ 310 w 327"/>
                <a:gd name="T7" fmla="*/ 0 h 148"/>
                <a:gd name="T8" fmla="*/ 327 w 327"/>
                <a:gd name="T9" fmla="*/ 7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7" h="148">
                  <a:moveTo>
                    <a:pt x="327" y="71"/>
                  </a:moveTo>
                  <a:lnTo>
                    <a:pt x="18" y="148"/>
                  </a:lnTo>
                  <a:lnTo>
                    <a:pt x="0" y="77"/>
                  </a:lnTo>
                  <a:lnTo>
                    <a:pt x="310" y="0"/>
                  </a:lnTo>
                  <a:lnTo>
                    <a:pt x="327" y="71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Freeform 15"/>
            <p:cNvSpPr/>
            <p:nvPr userDrawn="1"/>
          </p:nvSpPr>
          <p:spPr bwMode="auto">
            <a:xfrm>
              <a:off x="4775200" y="2713038"/>
              <a:ext cx="280988" cy="171450"/>
            </a:xfrm>
            <a:custGeom>
              <a:avLst/>
              <a:gdLst>
                <a:gd name="T0" fmla="*/ 177 w 177"/>
                <a:gd name="T1" fmla="*/ 68 h 108"/>
                <a:gd name="T2" fmla="*/ 18 w 177"/>
                <a:gd name="T3" fmla="*/ 108 h 108"/>
                <a:gd name="T4" fmla="*/ 0 w 177"/>
                <a:gd name="T5" fmla="*/ 40 h 108"/>
                <a:gd name="T6" fmla="*/ 159 w 177"/>
                <a:gd name="T7" fmla="*/ 0 h 108"/>
                <a:gd name="T8" fmla="*/ 177 w 177"/>
                <a:gd name="T9" fmla="*/ 6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108">
                  <a:moveTo>
                    <a:pt x="177" y="68"/>
                  </a:moveTo>
                  <a:lnTo>
                    <a:pt x="18" y="108"/>
                  </a:lnTo>
                  <a:lnTo>
                    <a:pt x="0" y="40"/>
                  </a:lnTo>
                  <a:lnTo>
                    <a:pt x="159" y="0"/>
                  </a:lnTo>
                  <a:lnTo>
                    <a:pt x="177" y="68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Freeform 16"/>
            <p:cNvSpPr/>
            <p:nvPr userDrawn="1"/>
          </p:nvSpPr>
          <p:spPr bwMode="auto">
            <a:xfrm>
              <a:off x="4332288" y="2089150"/>
              <a:ext cx="971550" cy="517525"/>
            </a:xfrm>
            <a:custGeom>
              <a:avLst/>
              <a:gdLst>
                <a:gd name="T0" fmla="*/ 0 w 612"/>
                <a:gd name="T1" fmla="*/ 326 h 326"/>
                <a:gd name="T2" fmla="*/ 126 w 612"/>
                <a:gd name="T3" fmla="*/ 31 h 326"/>
                <a:gd name="T4" fmla="*/ 319 w 612"/>
                <a:gd name="T5" fmla="*/ 130 h 326"/>
                <a:gd name="T6" fmla="*/ 367 w 612"/>
                <a:gd name="T7" fmla="*/ 0 h 326"/>
                <a:gd name="T8" fmla="*/ 612 w 612"/>
                <a:gd name="T9" fmla="*/ 14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2" h="326">
                  <a:moveTo>
                    <a:pt x="0" y="326"/>
                  </a:moveTo>
                  <a:lnTo>
                    <a:pt x="126" y="31"/>
                  </a:lnTo>
                  <a:lnTo>
                    <a:pt x="319" y="130"/>
                  </a:lnTo>
                  <a:lnTo>
                    <a:pt x="367" y="0"/>
                  </a:lnTo>
                  <a:lnTo>
                    <a:pt x="612" y="146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Freeform 17"/>
            <p:cNvSpPr/>
            <p:nvPr userDrawn="1"/>
          </p:nvSpPr>
          <p:spPr bwMode="auto">
            <a:xfrm>
              <a:off x="5289550" y="2863850"/>
              <a:ext cx="933450" cy="862013"/>
            </a:xfrm>
            <a:custGeom>
              <a:avLst/>
              <a:gdLst>
                <a:gd name="T0" fmla="*/ 461 w 588"/>
                <a:gd name="T1" fmla="*/ 507 h 543"/>
                <a:gd name="T2" fmla="*/ 433 w 588"/>
                <a:gd name="T3" fmla="*/ 543 h 543"/>
                <a:gd name="T4" fmla="*/ 0 w 588"/>
                <a:gd name="T5" fmla="*/ 195 h 543"/>
                <a:gd name="T6" fmla="*/ 156 w 588"/>
                <a:gd name="T7" fmla="*/ 0 h 543"/>
                <a:gd name="T8" fmla="*/ 588 w 588"/>
                <a:gd name="T9" fmla="*/ 348 h 543"/>
                <a:gd name="T10" fmla="*/ 486 w 588"/>
                <a:gd name="T11" fmla="*/ 476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8" h="543">
                  <a:moveTo>
                    <a:pt x="461" y="507"/>
                  </a:moveTo>
                  <a:lnTo>
                    <a:pt x="433" y="543"/>
                  </a:lnTo>
                  <a:lnTo>
                    <a:pt x="0" y="195"/>
                  </a:lnTo>
                  <a:lnTo>
                    <a:pt x="156" y="0"/>
                  </a:lnTo>
                  <a:lnTo>
                    <a:pt x="588" y="348"/>
                  </a:lnTo>
                  <a:lnTo>
                    <a:pt x="486" y="476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" name="Freeform 18"/>
            <p:cNvSpPr/>
            <p:nvPr userDrawn="1"/>
          </p:nvSpPr>
          <p:spPr bwMode="auto">
            <a:xfrm>
              <a:off x="5289550" y="2921000"/>
              <a:ext cx="889000" cy="804863"/>
            </a:xfrm>
            <a:custGeom>
              <a:avLst/>
              <a:gdLst>
                <a:gd name="T0" fmla="*/ 461 w 560"/>
                <a:gd name="T1" fmla="*/ 471 h 507"/>
                <a:gd name="T2" fmla="*/ 433 w 560"/>
                <a:gd name="T3" fmla="*/ 507 h 507"/>
                <a:gd name="T4" fmla="*/ 0 w 560"/>
                <a:gd name="T5" fmla="*/ 159 h 507"/>
                <a:gd name="T6" fmla="*/ 127 w 560"/>
                <a:gd name="T7" fmla="*/ 0 h 507"/>
                <a:gd name="T8" fmla="*/ 560 w 560"/>
                <a:gd name="T9" fmla="*/ 348 h 507"/>
                <a:gd name="T10" fmla="*/ 494 w 560"/>
                <a:gd name="T11" fmla="*/ 43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0" h="507">
                  <a:moveTo>
                    <a:pt x="461" y="471"/>
                  </a:moveTo>
                  <a:lnTo>
                    <a:pt x="433" y="507"/>
                  </a:lnTo>
                  <a:lnTo>
                    <a:pt x="0" y="159"/>
                  </a:lnTo>
                  <a:lnTo>
                    <a:pt x="127" y="0"/>
                  </a:lnTo>
                  <a:lnTo>
                    <a:pt x="560" y="348"/>
                  </a:lnTo>
                  <a:lnTo>
                    <a:pt x="494" y="430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Freeform 19"/>
            <p:cNvSpPr/>
            <p:nvPr userDrawn="1"/>
          </p:nvSpPr>
          <p:spPr bwMode="auto">
            <a:xfrm>
              <a:off x="5659438" y="2628900"/>
              <a:ext cx="708025" cy="687388"/>
            </a:xfrm>
            <a:custGeom>
              <a:avLst/>
              <a:gdLst>
                <a:gd name="T0" fmla="*/ 278 w 446"/>
                <a:gd name="T1" fmla="*/ 433 h 433"/>
                <a:gd name="T2" fmla="*/ 0 w 446"/>
                <a:gd name="T3" fmla="*/ 211 h 433"/>
                <a:gd name="T4" fmla="*/ 169 w 446"/>
                <a:gd name="T5" fmla="*/ 0 h 433"/>
                <a:gd name="T6" fmla="*/ 446 w 446"/>
                <a:gd name="T7" fmla="*/ 224 h 433"/>
                <a:gd name="T8" fmla="*/ 278 w 446"/>
                <a:gd name="T9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6" h="433">
                  <a:moveTo>
                    <a:pt x="278" y="433"/>
                  </a:moveTo>
                  <a:lnTo>
                    <a:pt x="0" y="211"/>
                  </a:lnTo>
                  <a:lnTo>
                    <a:pt x="169" y="0"/>
                  </a:lnTo>
                  <a:lnTo>
                    <a:pt x="446" y="224"/>
                  </a:lnTo>
                  <a:lnTo>
                    <a:pt x="278" y="433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Freeform 20"/>
            <p:cNvSpPr/>
            <p:nvPr userDrawn="1"/>
          </p:nvSpPr>
          <p:spPr bwMode="auto">
            <a:xfrm>
              <a:off x="5580063" y="2806700"/>
              <a:ext cx="153988" cy="157163"/>
            </a:xfrm>
            <a:custGeom>
              <a:avLst/>
              <a:gdLst>
                <a:gd name="T0" fmla="*/ 50 w 97"/>
                <a:gd name="T1" fmla="*/ 99 h 99"/>
                <a:gd name="T2" fmla="*/ 0 w 97"/>
                <a:gd name="T3" fmla="*/ 58 h 99"/>
                <a:gd name="T4" fmla="*/ 46 w 97"/>
                <a:gd name="T5" fmla="*/ 0 h 99"/>
                <a:gd name="T6" fmla="*/ 97 w 97"/>
                <a:gd name="T7" fmla="*/ 41 h 99"/>
                <a:gd name="T8" fmla="*/ 50 w 97"/>
                <a:gd name="T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99">
                  <a:moveTo>
                    <a:pt x="50" y="99"/>
                  </a:moveTo>
                  <a:lnTo>
                    <a:pt x="0" y="58"/>
                  </a:lnTo>
                  <a:lnTo>
                    <a:pt x="46" y="0"/>
                  </a:lnTo>
                  <a:lnTo>
                    <a:pt x="97" y="41"/>
                  </a:lnTo>
                  <a:lnTo>
                    <a:pt x="50" y="99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Freeform 21"/>
            <p:cNvSpPr/>
            <p:nvPr userDrawn="1"/>
          </p:nvSpPr>
          <p:spPr bwMode="auto">
            <a:xfrm>
              <a:off x="6100763" y="3224213"/>
              <a:ext cx="153988" cy="157163"/>
            </a:xfrm>
            <a:custGeom>
              <a:avLst/>
              <a:gdLst>
                <a:gd name="T0" fmla="*/ 50 w 97"/>
                <a:gd name="T1" fmla="*/ 99 h 99"/>
                <a:gd name="T2" fmla="*/ 0 w 97"/>
                <a:gd name="T3" fmla="*/ 58 h 99"/>
                <a:gd name="T4" fmla="*/ 47 w 97"/>
                <a:gd name="T5" fmla="*/ 0 h 99"/>
                <a:gd name="T6" fmla="*/ 97 w 97"/>
                <a:gd name="T7" fmla="*/ 41 h 99"/>
                <a:gd name="T8" fmla="*/ 50 w 97"/>
                <a:gd name="T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99">
                  <a:moveTo>
                    <a:pt x="50" y="99"/>
                  </a:moveTo>
                  <a:lnTo>
                    <a:pt x="0" y="58"/>
                  </a:lnTo>
                  <a:lnTo>
                    <a:pt x="47" y="0"/>
                  </a:lnTo>
                  <a:lnTo>
                    <a:pt x="97" y="41"/>
                  </a:lnTo>
                  <a:lnTo>
                    <a:pt x="50" y="99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" name="Line 22"/>
            <p:cNvSpPr>
              <a:spLocks noChangeShapeType="1"/>
            </p:cNvSpPr>
            <p:nvPr userDrawn="1"/>
          </p:nvSpPr>
          <p:spPr bwMode="auto">
            <a:xfrm>
              <a:off x="5942013" y="2749550"/>
              <a:ext cx="311150" cy="2508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Line 23"/>
            <p:cNvSpPr>
              <a:spLocks noChangeShapeType="1"/>
            </p:cNvSpPr>
            <p:nvPr userDrawn="1"/>
          </p:nvSpPr>
          <p:spPr bwMode="auto">
            <a:xfrm>
              <a:off x="5864225" y="2844800"/>
              <a:ext cx="312738" cy="249238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Line 24"/>
            <p:cNvSpPr>
              <a:spLocks noChangeShapeType="1"/>
            </p:cNvSpPr>
            <p:nvPr userDrawn="1"/>
          </p:nvSpPr>
          <p:spPr bwMode="auto">
            <a:xfrm>
              <a:off x="5789613" y="2940050"/>
              <a:ext cx="311150" cy="2508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Line 25"/>
            <p:cNvSpPr>
              <a:spLocks noChangeShapeType="1"/>
            </p:cNvSpPr>
            <p:nvPr userDrawn="1"/>
          </p:nvSpPr>
          <p:spPr bwMode="auto">
            <a:xfrm flipH="1">
              <a:off x="4926013" y="3370263"/>
              <a:ext cx="76200" cy="77788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Line 26"/>
            <p:cNvSpPr>
              <a:spLocks noChangeShapeType="1"/>
            </p:cNvSpPr>
            <p:nvPr userDrawn="1"/>
          </p:nvSpPr>
          <p:spPr bwMode="auto">
            <a:xfrm flipH="1">
              <a:off x="4745038" y="3551238"/>
              <a:ext cx="76200" cy="762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Line 27"/>
            <p:cNvSpPr>
              <a:spLocks noChangeShapeType="1"/>
            </p:cNvSpPr>
            <p:nvPr userDrawn="1"/>
          </p:nvSpPr>
          <p:spPr bwMode="auto">
            <a:xfrm>
              <a:off x="4745038" y="3370263"/>
              <a:ext cx="76200" cy="77788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Line 28"/>
            <p:cNvSpPr>
              <a:spLocks noChangeShapeType="1"/>
            </p:cNvSpPr>
            <p:nvPr userDrawn="1"/>
          </p:nvSpPr>
          <p:spPr bwMode="auto">
            <a:xfrm>
              <a:off x="4926013" y="3551238"/>
              <a:ext cx="76200" cy="762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Line 29"/>
            <p:cNvSpPr>
              <a:spLocks noChangeShapeType="1"/>
            </p:cNvSpPr>
            <p:nvPr userDrawn="1"/>
          </p:nvSpPr>
          <p:spPr bwMode="auto">
            <a:xfrm flipH="1">
              <a:off x="2824163" y="2967038"/>
              <a:ext cx="77788" cy="762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" name="Line 30"/>
            <p:cNvSpPr>
              <a:spLocks noChangeShapeType="1"/>
            </p:cNvSpPr>
            <p:nvPr userDrawn="1"/>
          </p:nvSpPr>
          <p:spPr bwMode="auto">
            <a:xfrm flipH="1">
              <a:off x="2644775" y="3148013"/>
              <a:ext cx="76200" cy="74613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" name="Line 31"/>
            <p:cNvSpPr>
              <a:spLocks noChangeShapeType="1"/>
            </p:cNvSpPr>
            <p:nvPr userDrawn="1"/>
          </p:nvSpPr>
          <p:spPr bwMode="auto">
            <a:xfrm>
              <a:off x="2644775" y="2967038"/>
              <a:ext cx="76200" cy="762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" name="Line 32"/>
            <p:cNvSpPr>
              <a:spLocks noChangeShapeType="1"/>
            </p:cNvSpPr>
            <p:nvPr userDrawn="1"/>
          </p:nvSpPr>
          <p:spPr bwMode="auto">
            <a:xfrm>
              <a:off x="2824163" y="3148013"/>
              <a:ext cx="77788" cy="74613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" name="Line 37"/>
            <p:cNvSpPr>
              <a:spLocks noChangeShapeType="1"/>
            </p:cNvSpPr>
            <p:nvPr userDrawn="1"/>
          </p:nvSpPr>
          <p:spPr bwMode="auto">
            <a:xfrm flipH="1">
              <a:off x="5354638" y="1201738"/>
              <a:ext cx="76200" cy="762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" name="Line 38"/>
            <p:cNvSpPr>
              <a:spLocks noChangeShapeType="1"/>
            </p:cNvSpPr>
            <p:nvPr userDrawn="1"/>
          </p:nvSpPr>
          <p:spPr bwMode="auto">
            <a:xfrm flipH="1">
              <a:off x="5173663" y="1381125"/>
              <a:ext cx="77788" cy="77788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" name="Line 39"/>
            <p:cNvSpPr>
              <a:spLocks noChangeShapeType="1"/>
            </p:cNvSpPr>
            <p:nvPr userDrawn="1"/>
          </p:nvSpPr>
          <p:spPr bwMode="auto">
            <a:xfrm>
              <a:off x="5173663" y="1201738"/>
              <a:ext cx="77788" cy="762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" name="Line 40"/>
            <p:cNvSpPr>
              <a:spLocks noChangeShapeType="1"/>
            </p:cNvSpPr>
            <p:nvPr userDrawn="1"/>
          </p:nvSpPr>
          <p:spPr bwMode="auto">
            <a:xfrm>
              <a:off x="5354638" y="1381125"/>
              <a:ext cx="76200" cy="77788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" name="Oval 41"/>
            <p:cNvSpPr>
              <a:spLocks noChangeArrowheads="1"/>
            </p:cNvSpPr>
            <p:nvPr userDrawn="1"/>
          </p:nvSpPr>
          <p:spPr bwMode="auto">
            <a:xfrm>
              <a:off x="5788025" y="2276475"/>
              <a:ext cx="152400" cy="153988"/>
            </a:xfrm>
            <a:prstGeom prst="ellips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" name="Freeform 42"/>
            <p:cNvSpPr/>
            <p:nvPr userDrawn="1"/>
          </p:nvSpPr>
          <p:spPr bwMode="auto">
            <a:xfrm>
              <a:off x="3136900" y="2136775"/>
              <a:ext cx="661988" cy="984250"/>
            </a:xfrm>
            <a:custGeom>
              <a:avLst/>
              <a:gdLst>
                <a:gd name="T0" fmla="*/ 300 w 417"/>
                <a:gd name="T1" fmla="*/ 620 h 620"/>
                <a:gd name="T2" fmla="*/ 0 w 417"/>
                <a:gd name="T3" fmla="*/ 557 h 620"/>
                <a:gd name="T4" fmla="*/ 117 w 417"/>
                <a:gd name="T5" fmla="*/ 0 h 620"/>
                <a:gd name="T6" fmla="*/ 417 w 417"/>
                <a:gd name="T7" fmla="*/ 63 h 620"/>
                <a:gd name="T8" fmla="*/ 328 w 417"/>
                <a:gd name="T9" fmla="*/ 489 h 620"/>
                <a:gd name="T10" fmla="*/ 320 w 417"/>
                <a:gd name="T11" fmla="*/ 522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7" h="620">
                  <a:moveTo>
                    <a:pt x="300" y="620"/>
                  </a:moveTo>
                  <a:lnTo>
                    <a:pt x="0" y="557"/>
                  </a:lnTo>
                  <a:lnTo>
                    <a:pt x="117" y="0"/>
                  </a:lnTo>
                  <a:lnTo>
                    <a:pt x="417" y="63"/>
                  </a:lnTo>
                  <a:lnTo>
                    <a:pt x="328" y="489"/>
                  </a:lnTo>
                  <a:lnTo>
                    <a:pt x="320" y="522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" name="Freeform 43"/>
            <p:cNvSpPr/>
            <p:nvPr userDrawn="1"/>
          </p:nvSpPr>
          <p:spPr bwMode="auto">
            <a:xfrm>
              <a:off x="3267075" y="2276475"/>
              <a:ext cx="503238" cy="225425"/>
            </a:xfrm>
            <a:custGeom>
              <a:avLst/>
              <a:gdLst>
                <a:gd name="T0" fmla="*/ 300 w 317"/>
                <a:gd name="T1" fmla="*/ 142 h 142"/>
                <a:gd name="T2" fmla="*/ 0 w 317"/>
                <a:gd name="T3" fmla="*/ 79 h 142"/>
                <a:gd name="T4" fmla="*/ 16 w 317"/>
                <a:gd name="T5" fmla="*/ 0 h 142"/>
                <a:gd name="T6" fmla="*/ 317 w 317"/>
                <a:gd name="T7" fmla="*/ 62 h 142"/>
                <a:gd name="T8" fmla="*/ 300 w 317"/>
                <a:gd name="T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7" h="142">
                  <a:moveTo>
                    <a:pt x="300" y="142"/>
                  </a:moveTo>
                  <a:lnTo>
                    <a:pt x="0" y="79"/>
                  </a:lnTo>
                  <a:lnTo>
                    <a:pt x="16" y="0"/>
                  </a:lnTo>
                  <a:lnTo>
                    <a:pt x="317" y="62"/>
                  </a:lnTo>
                  <a:lnTo>
                    <a:pt x="300" y="142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" name="Line 44"/>
            <p:cNvSpPr>
              <a:spLocks noChangeShapeType="1"/>
            </p:cNvSpPr>
            <p:nvPr userDrawn="1"/>
          </p:nvSpPr>
          <p:spPr bwMode="auto">
            <a:xfrm>
              <a:off x="3332163" y="2349500"/>
              <a:ext cx="371475" cy="77788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" name="Freeform 45"/>
            <p:cNvSpPr/>
            <p:nvPr userDrawn="1"/>
          </p:nvSpPr>
          <p:spPr bwMode="auto">
            <a:xfrm>
              <a:off x="3392488" y="1563688"/>
              <a:ext cx="190500" cy="192088"/>
            </a:xfrm>
            <a:custGeom>
              <a:avLst/>
              <a:gdLst>
                <a:gd name="T0" fmla="*/ 60 w 120"/>
                <a:gd name="T1" fmla="*/ 121 h 121"/>
                <a:gd name="T2" fmla="*/ 0 w 120"/>
                <a:gd name="T3" fmla="*/ 61 h 121"/>
                <a:gd name="T4" fmla="*/ 60 w 120"/>
                <a:gd name="T5" fmla="*/ 0 h 121"/>
                <a:gd name="T6" fmla="*/ 120 w 120"/>
                <a:gd name="T7" fmla="*/ 61 h 121"/>
                <a:gd name="T8" fmla="*/ 60 w 120"/>
                <a:gd name="T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121">
                  <a:moveTo>
                    <a:pt x="60" y="121"/>
                  </a:moveTo>
                  <a:lnTo>
                    <a:pt x="0" y="61"/>
                  </a:lnTo>
                  <a:lnTo>
                    <a:pt x="60" y="0"/>
                  </a:lnTo>
                  <a:lnTo>
                    <a:pt x="120" y="61"/>
                  </a:lnTo>
                  <a:lnTo>
                    <a:pt x="60" y="121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" name="Freeform 46"/>
            <p:cNvSpPr/>
            <p:nvPr userDrawn="1"/>
          </p:nvSpPr>
          <p:spPr bwMode="auto">
            <a:xfrm>
              <a:off x="5721350" y="1497013"/>
              <a:ext cx="190500" cy="192088"/>
            </a:xfrm>
            <a:custGeom>
              <a:avLst/>
              <a:gdLst>
                <a:gd name="T0" fmla="*/ 59 w 120"/>
                <a:gd name="T1" fmla="*/ 121 h 121"/>
                <a:gd name="T2" fmla="*/ 0 w 120"/>
                <a:gd name="T3" fmla="*/ 60 h 121"/>
                <a:gd name="T4" fmla="*/ 59 w 120"/>
                <a:gd name="T5" fmla="*/ 0 h 121"/>
                <a:gd name="T6" fmla="*/ 120 w 120"/>
                <a:gd name="T7" fmla="*/ 60 h 121"/>
                <a:gd name="T8" fmla="*/ 59 w 120"/>
                <a:gd name="T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121">
                  <a:moveTo>
                    <a:pt x="59" y="121"/>
                  </a:moveTo>
                  <a:lnTo>
                    <a:pt x="0" y="60"/>
                  </a:lnTo>
                  <a:lnTo>
                    <a:pt x="59" y="0"/>
                  </a:lnTo>
                  <a:lnTo>
                    <a:pt x="120" y="60"/>
                  </a:lnTo>
                  <a:lnTo>
                    <a:pt x="59" y="121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" name="Freeform 47"/>
            <p:cNvSpPr/>
            <p:nvPr userDrawn="1"/>
          </p:nvSpPr>
          <p:spPr bwMode="auto">
            <a:xfrm>
              <a:off x="2513013" y="3328988"/>
              <a:ext cx="684213" cy="350838"/>
            </a:xfrm>
            <a:custGeom>
              <a:avLst/>
              <a:gdLst>
                <a:gd name="T0" fmla="*/ 322 w 431"/>
                <a:gd name="T1" fmla="*/ 104 h 221"/>
                <a:gd name="T2" fmla="*/ 25 w 431"/>
                <a:gd name="T3" fmla="*/ 221 h 221"/>
                <a:gd name="T4" fmla="*/ 0 w 431"/>
                <a:gd name="T5" fmla="*/ 158 h 221"/>
                <a:gd name="T6" fmla="*/ 406 w 431"/>
                <a:gd name="T7" fmla="*/ 0 h 221"/>
                <a:gd name="T8" fmla="*/ 431 w 431"/>
                <a:gd name="T9" fmla="*/ 62 h 221"/>
                <a:gd name="T10" fmla="*/ 381 w 431"/>
                <a:gd name="T11" fmla="*/ 8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1" h="221">
                  <a:moveTo>
                    <a:pt x="322" y="104"/>
                  </a:moveTo>
                  <a:lnTo>
                    <a:pt x="25" y="221"/>
                  </a:lnTo>
                  <a:lnTo>
                    <a:pt x="0" y="158"/>
                  </a:lnTo>
                  <a:lnTo>
                    <a:pt x="406" y="0"/>
                  </a:lnTo>
                  <a:lnTo>
                    <a:pt x="431" y="62"/>
                  </a:lnTo>
                  <a:lnTo>
                    <a:pt x="381" y="81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" name="Line 48"/>
            <p:cNvSpPr>
              <a:spLocks noChangeShapeType="1"/>
            </p:cNvSpPr>
            <p:nvPr userDrawn="1"/>
          </p:nvSpPr>
          <p:spPr bwMode="auto">
            <a:xfrm>
              <a:off x="2767013" y="3479800"/>
              <a:ext cx="38100" cy="1016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" name="Freeform 49"/>
            <p:cNvSpPr/>
            <p:nvPr userDrawn="1"/>
          </p:nvSpPr>
          <p:spPr bwMode="auto">
            <a:xfrm>
              <a:off x="2405063" y="3579813"/>
              <a:ext cx="147638" cy="100013"/>
            </a:xfrm>
            <a:custGeom>
              <a:avLst/>
              <a:gdLst>
                <a:gd name="T0" fmla="*/ 68 w 93"/>
                <a:gd name="T1" fmla="*/ 0 h 63"/>
                <a:gd name="T2" fmla="*/ 0 w 93"/>
                <a:gd name="T3" fmla="*/ 63 h 63"/>
                <a:gd name="T4" fmla="*/ 93 w 93"/>
                <a:gd name="T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" h="63">
                  <a:moveTo>
                    <a:pt x="68" y="0"/>
                  </a:moveTo>
                  <a:lnTo>
                    <a:pt x="0" y="63"/>
                  </a:lnTo>
                  <a:lnTo>
                    <a:pt x="93" y="63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" name="Freeform 50"/>
            <p:cNvSpPr/>
            <p:nvPr userDrawn="1"/>
          </p:nvSpPr>
          <p:spPr bwMode="auto">
            <a:xfrm>
              <a:off x="7794625" y="3016250"/>
              <a:ext cx="333375" cy="422275"/>
            </a:xfrm>
            <a:custGeom>
              <a:avLst/>
              <a:gdLst>
                <a:gd name="T0" fmla="*/ 211 w 229"/>
                <a:gd name="T1" fmla="*/ 156 h 289"/>
                <a:gd name="T2" fmla="*/ 190 w 229"/>
                <a:gd name="T3" fmla="*/ 78 h 289"/>
                <a:gd name="T4" fmla="*/ 78 w 229"/>
                <a:gd name="T5" fmla="*/ 13 h 289"/>
                <a:gd name="T6" fmla="*/ 12 w 229"/>
                <a:gd name="T7" fmla="*/ 125 h 289"/>
                <a:gd name="T8" fmla="*/ 44 w 229"/>
                <a:gd name="T9" fmla="*/ 244 h 289"/>
                <a:gd name="T10" fmla="*/ 109 w 229"/>
                <a:gd name="T11" fmla="*/ 282 h 289"/>
                <a:gd name="T12" fmla="*/ 184 w 229"/>
                <a:gd name="T13" fmla="*/ 262 h 289"/>
                <a:gd name="T14" fmla="*/ 221 w 229"/>
                <a:gd name="T15" fmla="*/ 197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289">
                  <a:moveTo>
                    <a:pt x="211" y="156"/>
                  </a:moveTo>
                  <a:cubicBezTo>
                    <a:pt x="190" y="78"/>
                    <a:pt x="190" y="78"/>
                    <a:pt x="190" y="78"/>
                  </a:cubicBezTo>
                  <a:cubicBezTo>
                    <a:pt x="177" y="29"/>
                    <a:pt x="127" y="0"/>
                    <a:pt x="78" y="13"/>
                  </a:cubicBezTo>
                  <a:cubicBezTo>
                    <a:pt x="29" y="26"/>
                    <a:pt x="0" y="76"/>
                    <a:pt x="12" y="125"/>
                  </a:cubicBezTo>
                  <a:cubicBezTo>
                    <a:pt x="44" y="244"/>
                    <a:pt x="44" y="244"/>
                    <a:pt x="44" y="244"/>
                  </a:cubicBezTo>
                  <a:cubicBezTo>
                    <a:pt x="51" y="272"/>
                    <a:pt x="80" y="289"/>
                    <a:pt x="109" y="282"/>
                  </a:cubicBezTo>
                  <a:cubicBezTo>
                    <a:pt x="184" y="262"/>
                    <a:pt x="184" y="262"/>
                    <a:pt x="184" y="262"/>
                  </a:cubicBezTo>
                  <a:cubicBezTo>
                    <a:pt x="212" y="255"/>
                    <a:pt x="229" y="225"/>
                    <a:pt x="221" y="197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" name="Freeform 51"/>
            <p:cNvSpPr/>
            <p:nvPr userDrawn="1"/>
          </p:nvSpPr>
          <p:spPr bwMode="auto">
            <a:xfrm>
              <a:off x="7872413" y="2387600"/>
              <a:ext cx="255588" cy="773113"/>
            </a:xfrm>
            <a:custGeom>
              <a:avLst/>
              <a:gdLst>
                <a:gd name="T0" fmla="*/ 47 w 175"/>
                <a:gd name="T1" fmla="*/ 529 h 529"/>
                <a:gd name="T2" fmla="*/ 24 w 175"/>
                <a:gd name="T3" fmla="*/ 443 h 529"/>
                <a:gd name="T4" fmla="*/ 14 w 175"/>
                <a:gd name="T5" fmla="*/ 399 h 529"/>
                <a:gd name="T6" fmla="*/ 84 w 175"/>
                <a:gd name="T7" fmla="*/ 256 h 529"/>
                <a:gd name="T8" fmla="*/ 84 w 175"/>
                <a:gd name="T9" fmla="*/ 256 h 529"/>
                <a:gd name="T10" fmla="*/ 150 w 175"/>
                <a:gd name="T11" fmla="*/ 94 h 529"/>
                <a:gd name="T12" fmla="*/ 112 w 175"/>
                <a:gd name="T13" fmla="*/ 0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5" h="529">
                  <a:moveTo>
                    <a:pt x="47" y="529"/>
                  </a:moveTo>
                  <a:cubicBezTo>
                    <a:pt x="24" y="443"/>
                    <a:pt x="24" y="443"/>
                    <a:pt x="24" y="443"/>
                  </a:cubicBezTo>
                  <a:cubicBezTo>
                    <a:pt x="14" y="399"/>
                    <a:pt x="14" y="399"/>
                    <a:pt x="14" y="399"/>
                  </a:cubicBezTo>
                  <a:cubicBezTo>
                    <a:pt x="0" y="341"/>
                    <a:pt x="29" y="280"/>
                    <a:pt x="84" y="256"/>
                  </a:cubicBezTo>
                  <a:cubicBezTo>
                    <a:pt x="84" y="256"/>
                    <a:pt x="84" y="256"/>
                    <a:pt x="84" y="256"/>
                  </a:cubicBezTo>
                  <a:cubicBezTo>
                    <a:pt x="146" y="228"/>
                    <a:pt x="175" y="157"/>
                    <a:pt x="150" y="94"/>
                  </a:cubicBezTo>
                  <a:cubicBezTo>
                    <a:pt x="112" y="0"/>
                    <a:pt x="112" y="0"/>
                    <a:pt x="112" y="0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" name="Freeform 52"/>
            <p:cNvSpPr/>
            <p:nvPr userDrawn="1"/>
          </p:nvSpPr>
          <p:spPr bwMode="auto">
            <a:xfrm>
              <a:off x="7824788" y="3176588"/>
              <a:ext cx="258763" cy="66675"/>
            </a:xfrm>
            <a:custGeom>
              <a:avLst/>
              <a:gdLst>
                <a:gd name="T0" fmla="*/ 0 w 177"/>
                <a:gd name="T1" fmla="*/ 46 h 46"/>
                <a:gd name="T2" fmla="*/ 177 w 177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7" h="46">
                  <a:moveTo>
                    <a:pt x="0" y="46"/>
                  </a:moveTo>
                  <a:cubicBezTo>
                    <a:pt x="3" y="46"/>
                    <a:pt x="177" y="0"/>
                    <a:pt x="177" y="0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" name="Freeform 53"/>
            <p:cNvSpPr/>
            <p:nvPr userDrawn="1"/>
          </p:nvSpPr>
          <p:spPr bwMode="auto">
            <a:xfrm>
              <a:off x="6515100" y="2436813"/>
              <a:ext cx="1176338" cy="563563"/>
            </a:xfrm>
            <a:custGeom>
              <a:avLst/>
              <a:gdLst>
                <a:gd name="T0" fmla="*/ 707 w 741"/>
                <a:gd name="T1" fmla="*/ 332 h 355"/>
                <a:gd name="T2" fmla="*/ 704 w 741"/>
                <a:gd name="T3" fmla="*/ 355 h 355"/>
                <a:gd name="T4" fmla="*/ 0 w 741"/>
                <a:gd name="T5" fmla="*/ 243 h 355"/>
                <a:gd name="T6" fmla="*/ 38 w 741"/>
                <a:gd name="T7" fmla="*/ 0 h 355"/>
                <a:gd name="T8" fmla="*/ 741 w 741"/>
                <a:gd name="T9" fmla="*/ 111 h 355"/>
                <a:gd name="T10" fmla="*/ 715 w 741"/>
                <a:gd name="T11" fmla="*/ 282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1" h="355">
                  <a:moveTo>
                    <a:pt x="707" y="332"/>
                  </a:moveTo>
                  <a:lnTo>
                    <a:pt x="704" y="355"/>
                  </a:lnTo>
                  <a:lnTo>
                    <a:pt x="0" y="243"/>
                  </a:lnTo>
                  <a:lnTo>
                    <a:pt x="38" y="0"/>
                  </a:lnTo>
                  <a:lnTo>
                    <a:pt x="741" y="111"/>
                  </a:lnTo>
                  <a:lnTo>
                    <a:pt x="715" y="282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" name="Freeform 54"/>
            <p:cNvSpPr/>
            <p:nvPr userDrawn="1"/>
          </p:nvSpPr>
          <p:spPr bwMode="auto">
            <a:xfrm>
              <a:off x="6621463" y="2505075"/>
              <a:ext cx="271463" cy="107950"/>
            </a:xfrm>
            <a:custGeom>
              <a:avLst/>
              <a:gdLst>
                <a:gd name="T0" fmla="*/ 165 w 171"/>
                <a:gd name="T1" fmla="*/ 68 h 68"/>
                <a:gd name="T2" fmla="*/ 0 w 171"/>
                <a:gd name="T3" fmla="*/ 42 h 68"/>
                <a:gd name="T4" fmla="*/ 7 w 171"/>
                <a:gd name="T5" fmla="*/ 0 h 68"/>
                <a:gd name="T6" fmla="*/ 171 w 171"/>
                <a:gd name="T7" fmla="*/ 26 h 68"/>
                <a:gd name="T8" fmla="*/ 165 w 171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68">
                  <a:moveTo>
                    <a:pt x="165" y="68"/>
                  </a:moveTo>
                  <a:lnTo>
                    <a:pt x="0" y="42"/>
                  </a:lnTo>
                  <a:lnTo>
                    <a:pt x="7" y="0"/>
                  </a:lnTo>
                  <a:lnTo>
                    <a:pt x="171" y="26"/>
                  </a:lnTo>
                  <a:lnTo>
                    <a:pt x="165" y="68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" name="Freeform 55"/>
            <p:cNvSpPr/>
            <p:nvPr userDrawn="1"/>
          </p:nvSpPr>
          <p:spPr bwMode="auto">
            <a:xfrm>
              <a:off x="6940550" y="2554288"/>
              <a:ext cx="82550" cy="82550"/>
            </a:xfrm>
            <a:custGeom>
              <a:avLst/>
              <a:gdLst>
                <a:gd name="T0" fmla="*/ 44 w 52"/>
                <a:gd name="T1" fmla="*/ 52 h 52"/>
                <a:gd name="T2" fmla="*/ 0 w 52"/>
                <a:gd name="T3" fmla="*/ 44 h 52"/>
                <a:gd name="T4" fmla="*/ 8 w 52"/>
                <a:gd name="T5" fmla="*/ 0 h 52"/>
                <a:gd name="T6" fmla="*/ 52 w 52"/>
                <a:gd name="T7" fmla="*/ 8 h 52"/>
                <a:gd name="T8" fmla="*/ 44 w 52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2">
                  <a:moveTo>
                    <a:pt x="44" y="52"/>
                  </a:moveTo>
                  <a:lnTo>
                    <a:pt x="0" y="44"/>
                  </a:lnTo>
                  <a:lnTo>
                    <a:pt x="8" y="0"/>
                  </a:lnTo>
                  <a:lnTo>
                    <a:pt x="52" y="8"/>
                  </a:lnTo>
                  <a:lnTo>
                    <a:pt x="44" y="52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" name="Freeform 56"/>
            <p:cNvSpPr/>
            <p:nvPr userDrawn="1"/>
          </p:nvSpPr>
          <p:spPr bwMode="auto">
            <a:xfrm>
              <a:off x="7059613" y="2573338"/>
              <a:ext cx="80963" cy="82550"/>
            </a:xfrm>
            <a:custGeom>
              <a:avLst/>
              <a:gdLst>
                <a:gd name="T0" fmla="*/ 44 w 51"/>
                <a:gd name="T1" fmla="*/ 52 h 52"/>
                <a:gd name="T2" fmla="*/ 0 w 51"/>
                <a:gd name="T3" fmla="*/ 44 h 52"/>
                <a:gd name="T4" fmla="*/ 7 w 51"/>
                <a:gd name="T5" fmla="*/ 0 h 52"/>
                <a:gd name="T6" fmla="*/ 51 w 51"/>
                <a:gd name="T7" fmla="*/ 7 h 52"/>
                <a:gd name="T8" fmla="*/ 44 w 51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2">
                  <a:moveTo>
                    <a:pt x="44" y="52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1" y="7"/>
                  </a:lnTo>
                  <a:lnTo>
                    <a:pt x="44" y="52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" name="Freeform 57"/>
            <p:cNvSpPr/>
            <p:nvPr userDrawn="1"/>
          </p:nvSpPr>
          <p:spPr bwMode="auto">
            <a:xfrm>
              <a:off x="7177088" y="2592388"/>
              <a:ext cx="82550" cy="80963"/>
            </a:xfrm>
            <a:custGeom>
              <a:avLst/>
              <a:gdLst>
                <a:gd name="T0" fmla="*/ 44 w 52"/>
                <a:gd name="T1" fmla="*/ 51 h 51"/>
                <a:gd name="T2" fmla="*/ 0 w 52"/>
                <a:gd name="T3" fmla="*/ 44 h 51"/>
                <a:gd name="T4" fmla="*/ 7 w 52"/>
                <a:gd name="T5" fmla="*/ 0 h 51"/>
                <a:gd name="T6" fmla="*/ 52 w 52"/>
                <a:gd name="T7" fmla="*/ 7 h 51"/>
                <a:gd name="T8" fmla="*/ 44 w 52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1">
                  <a:moveTo>
                    <a:pt x="44" y="51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2" y="7"/>
                  </a:lnTo>
                  <a:lnTo>
                    <a:pt x="44" y="51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" name="Freeform 58"/>
            <p:cNvSpPr/>
            <p:nvPr userDrawn="1"/>
          </p:nvSpPr>
          <p:spPr bwMode="auto">
            <a:xfrm>
              <a:off x="7296150" y="2611438"/>
              <a:ext cx="80963" cy="80963"/>
            </a:xfrm>
            <a:custGeom>
              <a:avLst/>
              <a:gdLst>
                <a:gd name="T0" fmla="*/ 44 w 51"/>
                <a:gd name="T1" fmla="*/ 51 h 51"/>
                <a:gd name="T2" fmla="*/ 0 w 51"/>
                <a:gd name="T3" fmla="*/ 44 h 51"/>
                <a:gd name="T4" fmla="*/ 7 w 51"/>
                <a:gd name="T5" fmla="*/ 0 h 51"/>
                <a:gd name="T6" fmla="*/ 51 w 51"/>
                <a:gd name="T7" fmla="*/ 6 h 51"/>
                <a:gd name="T8" fmla="*/ 44 w 51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44" y="51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1" y="6"/>
                  </a:lnTo>
                  <a:lnTo>
                    <a:pt x="44" y="51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" name="Freeform 59"/>
            <p:cNvSpPr/>
            <p:nvPr userDrawn="1"/>
          </p:nvSpPr>
          <p:spPr bwMode="auto">
            <a:xfrm>
              <a:off x="7413625" y="2628900"/>
              <a:ext cx="80963" cy="82550"/>
            </a:xfrm>
            <a:custGeom>
              <a:avLst/>
              <a:gdLst>
                <a:gd name="T0" fmla="*/ 45 w 51"/>
                <a:gd name="T1" fmla="*/ 52 h 52"/>
                <a:gd name="T2" fmla="*/ 0 w 51"/>
                <a:gd name="T3" fmla="*/ 44 h 52"/>
                <a:gd name="T4" fmla="*/ 7 w 51"/>
                <a:gd name="T5" fmla="*/ 0 h 52"/>
                <a:gd name="T6" fmla="*/ 51 w 51"/>
                <a:gd name="T7" fmla="*/ 7 h 52"/>
                <a:gd name="T8" fmla="*/ 45 w 51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2">
                  <a:moveTo>
                    <a:pt x="45" y="52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1" y="7"/>
                  </a:lnTo>
                  <a:lnTo>
                    <a:pt x="45" y="52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" name="Freeform 60"/>
            <p:cNvSpPr/>
            <p:nvPr userDrawn="1"/>
          </p:nvSpPr>
          <p:spPr bwMode="auto">
            <a:xfrm>
              <a:off x="6919913" y="2682875"/>
              <a:ext cx="82550" cy="80963"/>
            </a:xfrm>
            <a:custGeom>
              <a:avLst/>
              <a:gdLst>
                <a:gd name="T0" fmla="*/ 45 w 52"/>
                <a:gd name="T1" fmla="*/ 51 h 51"/>
                <a:gd name="T2" fmla="*/ 0 w 52"/>
                <a:gd name="T3" fmla="*/ 44 h 51"/>
                <a:gd name="T4" fmla="*/ 8 w 52"/>
                <a:gd name="T5" fmla="*/ 0 h 51"/>
                <a:gd name="T6" fmla="*/ 52 w 52"/>
                <a:gd name="T7" fmla="*/ 7 h 51"/>
                <a:gd name="T8" fmla="*/ 45 w 52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1">
                  <a:moveTo>
                    <a:pt x="45" y="51"/>
                  </a:moveTo>
                  <a:lnTo>
                    <a:pt x="0" y="44"/>
                  </a:lnTo>
                  <a:lnTo>
                    <a:pt x="8" y="0"/>
                  </a:lnTo>
                  <a:lnTo>
                    <a:pt x="52" y="7"/>
                  </a:lnTo>
                  <a:lnTo>
                    <a:pt x="45" y="51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" name="Freeform 61"/>
            <p:cNvSpPr/>
            <p:nvPr userDrawn="1"/>
          </p:nvSpPr>
          <p:spPr bwMode="auto">
            <a:xfrm>
              <a:off x="7038975" y="2700338"/>
              <a:ext cx="80963" cy="82550"/>
            </a:xfrm>
            <a:custGeom>
              <a:avLst/>
              <a:gdLst>
                <a:gd name="T0" fmla="*/ 44 w 51"/>
                <a:gd name="T1" fmla="*/ 52 h 52"/>
                <a:gd name="T2" fmla="*/ 0 w 51"/>
                <a:gd name="T3" fmla="*/ 44 h 52"/>
                <a:gd name="T4" fmla="*/ 7 w 51"/>
                <a:gd name="T5" fmla="*/ 0 h 52"/>
                <a:gd name="T6" fmla="*/ 51 w 51"/>
                <a:gd name="T7" fmla="*/ 7 h 52"/>
                <a:gd name="T8" fmla="*/ 44 w 51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2">
                  <a:moveTo>
                    <a:pt x="44" y="52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1" y="7"/>
                  </a:lnTo>
                  <a:lnTo>
                    <a:pt x="44" y="52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" name="Freeform 62"/>
            <p:cNvSpPr/>
            <p:nvPr userDrawn="1"/>
          </p:nvSpPr>
          <p:spPr bwMode="auto">
            <a:xfrm>
              <a:off x="6637338" y="2638425"/>
              <a:ext cx="80963" cy="79375"/>
            </a:xfrm>
            <a:custGeom>
              <a:avLst/>
              <a:gdLst>
                <a:gd name="T0" fmla="*/ 44 w 51"/>
                <a:gd name="T1" fmla="*/ 50 h 50"/>
                <a:gd name="T2" fmla="*/ 0 w 51"/>
                <a:gd name="T3" fmla="*/ 44 h 50"/>
                <a:gd name="T4" fmla="*/ 7 w 51"/>
                <a:gd name="T5" fmla="*/ 0 h 50"/>
                <a:gd name="T6" fmla="*/ 51 w 51"/>
                <a:gd name="T7" fmla="*/ 6 h 50"/>
                <a:gd name="T8" fmla="*/ 44 w 51"/>
                <a:gd name="T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0">
                  <a:moveTo>
                    <a:pt x="44" y="50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1" y="6"/>
                  </a:lnTo>
                  <a:lnTo>
                    <a:pt x="44" y="50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" name="Freeform 63"/>
            <p:cNvSpPr/>
            <p:nvPr userDrawn="1"/>
          </p:nvSpPr>
          <p:spPr bwMode="auto">
            <a:xfrm>
              <a:off x="6756400" y="2657475"/>
              <a:ext cx="79375" cy="79375"/>
            </a:xfrm>
            <a:custGeom>
              <a:avLst/>
              <a:gdLst>
                <a:gd name="T0" fmla="*/ 44 w 50"/>
                <a:gd name="T1" fmla="*/ 50 h 50"/>
                <a:gd name="T2" fmla="*/ 0 w 50"/>
                <a:gd name="T3" fmla="*/ 44 h 50"/>
                <a:gd name="T4" fmla="*/ 6 w 50"/>
                <a:gd name="T5" fmla="*/ 0 h 50"/>
                <a:gd name="T6" fmla="*/ 50 w 50"/>
                <a:gd name="T7" fmla="*/ 6 h 50"/>
                <a:gd name="T8" fmla="*/ 44 w 50"/>
                <a:gd name="T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44" y="50"/>
                  </a:moveTo>
                  <a:lnTo>
                    <a:pt x="0" y="44"/>
                  </a:lnTo>
                  <a:lnTo>
                    <a:pt x="6" y="0"/>
                  </a:lnTo>
                  <a:lnTo>
                    <a:pt x="50" y="6"/>
                  </a:lnTo>
                  <a:lnTo>
                    <a:pt x="44" y="50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" name="Freeform 64"/>
            <p:cNvSpPr/>
            <p:nvPr userDrawn="1"/>
          </p:nvSpPr>
          <p:spPr bwMode="auto">
            <a:xfrm>
              <a:off x="7156450" y="2719388"/>
              <a:ext cx="82550" cy="82550"/>
            </a:xfrm>
            <a:custGeom>
              <a:avLst/>
              <a:gdLst>
                <a:gd name="T0" fmla="*/ 44 w 52"/>
                <a:gd name="T1" fmla="*/ 52 h 52"/>
                <a:gd name="T2" fmla="*/ 0 w 52"/>
                <a:gd name="T3" fmla="*/ 44 h 52"/>
                <a:gd name="T4" fmla="*/ 8 w 52"/>
                <a:gd name="T5" fmla="*/ 0 h 52"/>
                <a:gd name="T6" fmla="*/ 52 w 52"/>
                <a:gd name="T7" fmla="*/ 7 h 52"/>
                <a:gd name="T8" fmla="*/ 44 w 52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2">
                  <a:moveTo>
                    <a:pt x="44" y="52"/>
                  </a:moveTo>
                  <a:lnTo>
                    <a:pt x="0" y="44"/>
                  </a:lnTo>
                  <a:lnTo>
                    <a:pt x="8" y="0"/>
                  </a:lnTo>
                  <a:lnTo>
                    <a:pt x="52" y="7"/>
                  </a:lnTo>
                  <a:lnTo>
                    <a:pt x="44" y="52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" name="Freeform 65"/>
            <p:cNvSpPr/>
            <p:nvPr userDrawn="1"/>
          </p:nvSpPr>
          <p:spPr bwMode="auto">
            <a:xfrm>
              <a:off x="7277100" y="2738438"/>
              <a:ext cx="79375" cy="82550"/>
            </a:xfrm>
            <a:custGeom>
              <a:avLst/>
              <a:gdLst>
                <a:gd name="T0" fmla="*/ 44 w 50"/>
                <a:gd name="T1" fmla="*/ 52 h 52"/>
                <a:gd name="T2" fmla="*/ 0 w 50"/>
                <a:gd name="T3" fmla="*/ 44 h 52"/>
                <a:gd name="T4" fmla="*/ 6 w 50"/>
                <a:gd name="T5" fmla="*/ 0 h 52"/>
                <a:gd name="T6" fmla="*/ 50 w 50"/>
                <a:gd name="T7" fmla="*/ 7 h 52"/>
                <a:gd name="T8" fmla="*/ 44 w 50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2">
                  <a:moveTo>
                    <a:pt x="44" y="52"/>
                  </a:moveTo>
                  <a:lnTo>
                    <a:pt x="0" y="44"/>
                  </a:lnTo>
                  <a:lnTo>
                    <a:pt x="6" y="0"/>
                  </a:lnTo>
                  <a:lnTo>
                    <a:pt x="50" y="7"/>
                  </a:lnTo>
                  <a:lnTo>
                    <a:pt x="44" y="52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" name="Freeform 66"/>
            <p:cNvSpPr/>
            <p:nvPr userDrawn="1"/>
          </p:nvSpPr>
          <p:spPr bwMode="auto">
            <a:xfrm>
              <a:off x="7394575" y="2757488"/>
              <a:ext cx="80963" cy="80963"/>
            </a:xfrm>
            <a:custGeom>
              <a:avLst/>
              <a:gdLst>
                <a:gd name="T0" fmla="*/ 44 w 51"/>
                <a:gd name="T1" fmla="*/ 51 h 51"/>
                <a:gd name="T2" fmla="*/ 0 w 51"/>
                <a:gd name="T3" fmla="*/ 44 h 51"/>
                <a:gd name="T4" fmla="*/ 6 w 51"/>
                <a:gd name="T5" fmla="*/ 0 h 51"/>
                <a:gd name="T6" fmla="*/ 51 w 51"/>
                <a:gd name="T7" fmla="*/ 6 h 51"/>
                <a:gd name="T8" fmla="*/ 44 w 51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44" y="51"/>
                  </a:moveTo>
                  <a:lnTo>
                    <a:pt x="0" y="44"/>
                  </a:lnTo>
                  <a:lnTo>
                    <a:pt x="6" y="0"/>
                  </a:lnTo>
                  <a:lnTo>
                    <a:pt x="51" y="6"/>
                  </a:lnTo>
                  <a:lnTo>
                    <a:pt x="44" y="51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" name="Freeform 67"/>
            <p:cNvSpPr/>
            <p:nvPr userDrawn="1"/>
          </p:nvSpPr>
          <p:spPr bwMode="auto">
            <a:xfrm>
              <a:off x="7096125" y="2343150"/>
              <a:ext cx="512763" cy="176213"/>
            </a:xfrm>
            <a:custGeom>
              <a:avLst/>
              <a:gdLst>
                <a:gd name="T0" fmla="*/ 0 w 352"/>
                <a:gd name="T1" fmla="*/ 121 h 121"/>
                <a:gd name="T2" fmla="*/ 0 w 352"/>
                <a:gd name="T3" fmla="*/ 121 h 121"/>
                <a:gd name="T4" fmla="*/ 152 w 352"/>
                <a:gd name="T5" fmla="*/ 57 h 121"/>
                <a:gd name="T6" fmla="*/ 193 w 352"/>
                <a:gd name="T7" fmla="*/ 65 h 121"/>
                <a:gd name="T8" fmla="*/ 326 w 352"/>
                <a:gd name="T9" fmla="*/ 26 h 121"/>
                <a:gd name="T10" fmla="*/ 352 w 352"/>
                <a:gd name="T11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2" h="121">
                  <a:moveTo>
                    <a:pt x="0" y="121"/>
                  </a:moveTo>
                  <a:cubicBezTo>
                    <a:pt x="0" y="121"/>
                    <a:pt x="0" y="121"/>
                    <a:pt x="0" y="121"/>
                  </a:cubicBezTo>
                  <a:cubicBezTo>
                    <a:pt x="33" y="70"/>
                    <a:pt x="93" y="44"/>
                    <a:pt x="152" y="57"/>
                  </a:cubicBezTo>
                  <a:cubicBezTo>
                    <a:pt x="193" y="65"/>
                    <a:pt x="193" y="65"/>
                    <a:pt x="193" y="65"/>
                  </a:cubicBezTo>
                  <a:cubicBezTo>
                    <a:pt x="241" y="76"/>
                    <a:pt x="291" y="61"/>
                    <a:pt x="326" y="26"/>
                  </a:cubicBezTo>
                  <a:cubicBezTo>
                    <a:pt x="352" y="0"/>
                    <a:pt x="352" y="0"/>
                    <a:pt x="352" y="0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" name="Freeform 68"/>
            <p:cNvSpPr/>
            <p:nvPr userDrawn="1"/>
          </p:nvSpPr>
          <p:spPr bwMode="auto">
            <a:xfrm>
              <a:off x="8515350" y="2657475"/>
              <a:ext cx="825500" cy="1006475"/>
            </a:xfrm>
            <a:custGeom>
              <a:avLst/>
              <a:gdLst>
                <a:gd name="T0" fmla="*/ 174 w 520"/>
                <a:gd name="T1" fmla="*/ 59 h 634"/>
                <a:gd name="T2" fmla="*/ 54 w 520"/>
                <a:gd name="T3" fmla="*/ 113 h 634"/>
                <a:gd name="T4" fmla="*/ 0 w 520"/>
                <a:gd name="T5" fmla="*/ 253 h 634"/>
                <a:gd name="T6" fmla="*/ 168 w 520"/>
                <a:gd name="T7" fmla="*/ 634 h 634"/>
                <a:gd name="T8" fmla="*/ 520 w 520"/>
                <a:gd name="T9" fmla="*/ 479 h 634"/>
                <a:gd name="T10" fmla="*/ 309 w 520"/>
                <a:gd name="T11" fmla="*/ 0 h 634"/>
                <a:gd name="T12" fmla="*/ 241 w 520"/>
                <a:gd name="T13" fmla="*/ 30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0" h="634">
                  <a:moveTo>
                    <a:pt x="174" y="59"/>
                  </a:moveTo>
                  <a:lnTo>
                    <a:pt x="54" y="113"/>
                  </a:lnTo>
                  <a:lnTo>
                    <a:pt x="0" y="253"/>
                  </a:lnTo>
                  <a:lnTo>
                    <a:pt x="168" y="634"/>
                  </a:lnTo>
                  <a:lnTo>
                    <a:pt x="520" y="479"/>
                  </a:lnTo>
                  <a:lnTo>
                    <a:pt x="309" y="0"/>
                  </a:lnTo>
                  <a:lnTo>
                    <a:pt x="241" y="30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" name="Freeform 69"/>
            <p:cNvSpPr/>
            <p:nvPr userDrawn="1"/>
          </p:nvSpPr>
          <p:spPr bwMode="auto">
            <a:xfrm>
              <a:off x="8513763" y="2836863"/>
              <a:ext cx="155575" cy="222250"/>
            </a:xfrm>
            <a:custGeom>
              <a:avLst/>
              <a:gdLst>
                <a:gd name="T0" fmla="*/ 55 w 98"/>
                <a:gd name="T1" fmla="*/ 0 h 140"/>
                <a:gd name="T2" fmla="*/ 0 w 98"/>
                <a:gd name="T3" fmla="*/ 140 h 140"/>
                <a:gd name="T4" fmla="*/ 98 w 98"/>
                <a:gd name="T5" fmla="*/ 97 h 140"/>
                <a:gd name="T6" fmla="*/ 55 w 98"/>
                <a:gd name="T7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140">
                  <a:moveTo>
                    <a:pt x="55" y="0"/>
                  </a:moveTo>
                  <a:lnTo>
                    <a:pt x="0" y="140"/>
                  </a:lnTo>
                  <a:lnTo>
                    <a:pt x="98" y="97"/>
                  </a:lnTo>
                  <a:lnTo>
                    <a:pt x="55" y="0"/>
                  </a:lnTo>
                  <a:close/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" name="Line 70"/>
            <p:cNvSpPr>
              <a:spLocks noChangeShapeType="1"/>
            </p:cNvSpPr>
            <p:nvPr userDrawn="1"/>
          </p:nvSpPr>
          <p:spPr bwMode="auto">
            <a:xfrm flipV="1">
              <a:off x="8669338" y="2978150"/>
              <a:ext cx="365125" cy="1619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" name="Line 71"/>
            <p:cNvSpPr>
              <a:spLocks noChangeShapeType="1"/>
            </p:cNvSpPr>
            <p:nvPr userDrawn="1"/>
          </p:nvSpPr>
          <p:spPr bwMode="auto">
            <a:xfrm flipV="1">
              <a:off x="8737600" y="3132138"/>
              <a:ext cx="366713" cy="1619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" name="Line 72"/>
            <p:cNvSpPr>
              <a:spLocks noChangeShapeType="1"/>
            </p:cNvSpPr>
            <p:nvPr userDrawn="1"/>
          </p:nvSpPr>
          <p:spPr bwMode="auto">
            <a:xfrm flipV="1">
              <a:off x="8805863" y="3289300"/>
              <a:ext cx="366713" cy="1619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" name="Oval 73"/>
            <p:cNvSpPr>
              <a:spLocks noChangeArrowheads="1"/>
            </p:cNvSpPr>
            <p:nvPr userDrawn="1"/>
          </p:nvSpPr>
          <p:spPr bwMode="auto">
            <a:xfrm>
              <a:off x="8836025" y="2178050"/>
              <a:ext cx="242888" cy="242888"/>
            </a:xfrm>
            <a:prstGeom prst="ellipse">
              <a:avLst/>
            </a:pr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" name="Freeform 74"/>
            <p:cNvSpPr/>
            <p:nvPr userDrawn="1"/>
          </p:nvSpPr>
          <p:spPr bwMode="auto">
            <a:xfrm>
              <a:off x="8958263" y="2233613"/>
              <a:ext cx="65088" cy="65088"/>
            </a:xfrm>
            <a:custGeom>
              <a:avLst/>
              <a:gdLst>
                <a:gd name="T0" fmla="*/ 0 w 45"/>
                <a:gd name="T1" fmla="*/ 0 h 45"/>
                <a:gd name="T2" fmla="*/ 45 w 45"/>
                <a:gd name="T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5" h="45">
                  <a:moveTo>
                    <a:pt x="0" y="0"/>
                  </a:moveTo>
                  <a:cubicBezTo>
                    <a:pt x="25" y="0"/>
                    <a:pt x="45" y="20"/>
                    <a:pt x="45" y="45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" name="Line 75"/>
            <p:cNvSpPr>
              <a:spLocks noChangeShapeType="1"/>
            </p:cNvSpPr>
            <p:nvPr userDrawn="1"/>
          </p:nvSpPr>
          <p:spPr bwMode="auto">
            <a:xfrm>
              <a:off x="9078913" y="2298700"/>
              <a:ext cx="92075" cy="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" name="Line 76"/>
            <p:cNvSpPr>
              <a:spLocks noChangeShapeType="1"/>
            </p:cNvSpPr>
            <p:nvPr userDrawn="1"/>
          </p:nvSpPr>
          <p:spPr bwMode="auto">
            <a:xfrm flipH="1">
              <a:off x="6546850" y="2090738"/>
              <a:ext cx="73025" cy="730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" name="Line 77"/>
            <p:cNvSpPr>
              <a:spLocks noChangeShapeType="1"/>
            </p:cNvSpPr>
            <p:nvPr userDrawn="1"/>
          </p:nvSpPr>
          <p:spPr bwMode="auto">
            <a:xfrm flipH="1">
              <a:off x="6375400" y="2262188"/>
              <a:ext cx="73025" cy="730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" name="Line 78"/>
            <p:cNvSpPr>
              <a:spLocks noChangeShapeType="1"/>
            </p:cNvSpPr>
            <p:nvPr userDrawn="1"/>
          </p:nvSpPr>
          <p:spPr bwMode="auto">
            <a:xfrm>
              <a:off x="6375400" y="2090738"/>
              <a:ext cx="73025" cy="730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" name="Line 79"/>
            <p:cNvSpPr>
              <a:spLocks noChangeShapeType="1"/>
            </p:cNvSpPr>
            <p:nvPr userDrawn="1"/>
          </p:nvSpPr>
          <p:spPr bwMode="auto">
            <a:xfrm>
              <a:off x="6546850" y="2262188"/>
              <a:ext cx="73025" cy="730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" name="Line 80"/>
            <p:cNvSpPr>
              <a:spLocks noChangeShapeType="1"/>
            </p:cNvSpPr>
            <p:nvPr userDrawn="1"/>
          </p:nvSpPr>
          <p:spPr bwMode="auto">
            <a:xfrm flipH="1">
              <a:off x="8551863" y="1925638"/>
              <a:ext cx="73025" cy="730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" name="Line 81"/>
            <p:cNvSpPr>
              <a:spLocks noChangeShapeType="1"/>
            </p:cNvSpPr>
            <p:nvPr userDrawn="1"/>
          </p:nvSpPr>
          <p:spPr bwMode="auto">
            <a:xfrm flipH="1">
              <a:off x="8380413" y="2097088"/>
              <a:ext cx="73025" cy="730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7" name="Line 82"/>
            <p:cNvSpPr>
              <a:spLocks noChangeShapeType="1"/>
            </p:cNvSpPr>
            <p:nvPr userDrawn="1"/>
          </p:nvSpPr>
          <p:spPr bwMode="auto">
            <a:xfrm>
              <a:off x="8380413" y="1925638"/>
              <a:ext cx="73025" cy="730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8" name="Line 83"/>
            <p:cNvSpPr>
              <a:spLocks noChangeShapeType="1"/>
            </p:cNvSpPr>
            <p:nvPr userDrawn="1"/>
          </p:nvSpPr>
          <p:spPr bwMode="auto">
            <a:xfrm>
              <a:off x="8551863" y="2097088"/>
              <a:ext cx="73025" cy="730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9" name="Oval 84"/>
            <p:cNvSpPr>
              <a:spLocks noChangeArrowheads="1"/>
            </p:cNvSpPr>
            <p:nvPr userDrawn="1"/>
          </p:nvSpPr>
          <p:spPr bwMode="auto">
            <a:xfrm>
              <a:off x="7175500" y="3248025"/>
              <a:ext cx="146050" cy="146050"/>
            </a:xfrm>
            <a:prstGeom prst="ellips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0" name="Freeform 85"/>
            <p:cNvSpPr/>
            <p:nvPr userDrawn="1"/>
          </p:nvSpPr>
          <p:spPr bwMode="auto">
            <a:xfrm>
              <a:off x="6988175" y="2027238"/>
              <a:ext cx="182563" cy="182563"/>
            </a:xfrm>
            <a:custGeom>
              <a:avLst/>
              <a:gdLst>
                <a:gd name="T0" fmla="*/ 58 w 115"/>
                <a:gd name="T1" fmla="*/ 115 h 115"/>
                <a:gd name="T2" fmla="*/ 0 w 115"/>
                <a:gd name="T3" fmla="*/ 58 h 115"/>
                <a:gd name="T4" fmla="*/ 58 w 115"/>
                <a:gd name="T5" fmla="*/ 0 h 115"/>
                <a:gd name="T6" fmla="*/ 115 w 115"/>
                <a:gd name="T7" fmla="*/ 58 h 115"/>
                <a:gd name="T8" fmla="*/ 58 w 115"/>
                <a:gd name="T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15">
                  <a:moveTo>
                    <a:pt x="58" y="115"/>
                  </a:moveTo>
                  <a:lnTo>
                    <a:pt x="0" y="58"/>
                  </a:lnTo>
                  <a:lnTo>
                    <a:pt x="58" y="0"/>
                  </a:lnTo>
                  <a:lnTo>
                    <a:pt x="115" y="58"/>
                  </a:lnTo>
                  <a:lnTo>
                    <a:pt x="58" y="115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1" name="Freeform 86"/>
            <p:cNvSpPr/>
            <p:nvPr userDrawn="1"/>
          </p:nvSpPr>
          <p:spPr bwMode="auto">
            <a:xfrm>
              <a:off x="8355013" y="2354263"/>
              <a:ext cx="258763" cy="296863"/>
            </a:xfrm>
            <a:custGeom>
              <a:avLst/>
              <a:gdLst>
                <a:gd name="T0" fmla="*/ 100 w 177"/>
                <a:gd name="T1" fmla="*/ 0 h 203"/>
                <a:gd name="T2" fmla="*/ 15 w 177"/>
                <a:gd name="T3" fmla="*/ 124 h 203"/>
                <a:gd name="T4" fmla="*/ 27 w 177"/>
                <a:gd name="T5" fmla="*/ 189 h 203"/>
                <a:gd name="T6" fmla="*/ 91 w 177"/>
                <a:gd name="T7" fmla="*/ 177 h 203"/>
                <a:gd name="T8" fmla="*/ 177 w 177"/>
                <a:gd name="T9" fmla="*/ 53 h 203"/>
                <a:gd name="T10" fmla="*/ 100 w 177"/>
                <a:gd name="T1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" h="203">
                  <a:moveTo>
                    <a:pt x="100" y="0"/>
                  </a:moveTo>
                  <a:cubicBezTo>
                    <a:pt x="15" y="124"/>
                    <a:pt x="15" y="124"/>
                    <a:pt x="15" y="124"/>
                  </a:cubicBezTo>
                  <a:cubicBezTo>
                    <a:pt x="0" y="145"/>
                    <a:pt x="6" y="174"/>
                    <a:pt x="27" y="189"/>
                  </a:cubicBezTo>
                  <a:cubicBezTo>
                    <a:pt x="48" y="203"/>
                    <a:pt x="77" y="198"/>
                    <a:pt x="91" y="177"/>
                  </a:cubicBezTo>
                  <a:cubicBezTo>
                    <a:pt x="177" y="53"/>
                    <a:pt x="177" y="53"/>
                    <a:pt x="177" y="53"/>
                  </a:cubicBezTo>
                  <a:lnTo>
                    <a:pt x="100" y="0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2" name="Line 87"/>
            <p:cNvSpPr>
              <a:spLocks noChangeShapeType="1"/>
            </p:cNvSpPr>
            <p:nvPr userDrawn="1"/>
          </p:nvSpPr>
          <p:spPr bwMode="auto">
            <a:xfrm>
              <a:off x="8391525" y="2514600"/>
              <a:ext cx="111125" cy="77788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3" name="Freeform 88"/>
            <p:cNvSpPr/>
            <p:nvPr userDrawn="1"/>
          </p:nvSpPr>
          <p:spPr bwMode="auto">
            <a:xfrm>
              <a:off x="8516938" y="2305050"/>
              <a:ext cx="122238" cy="115888"/>
            </a:xfrm>
            <a:custGeom>
              <a:avLst/>
              <a:gdLst>
                <a:gd name="T0" fmla="*/ 77 w 77"/>
                <a:gd name="T1" fmla="*/ 35 h 73"/>
                <a:gd name="T2" fmla="*/ 27 w 77"/>
                <a:gd name="T3" fmla="*/ 0 h 73"/>
                <a:gd name="T4" fmla="*/ 0 w 77"/>
                <a:gd name="T5" fmla="*/ 38 h 73"/>
                <a:gd name="T6" fmla="*/ 51 w 77"/>
                <a:gd name="T7" fmla="*/ 73 h 73"/>
                <a:gd name="T8" fmla="*/ 77 w 77"/>
                <a:gd name="T9" fmla="*/ 3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3">
                  <a:moveTo>
                    <a:pt x="77" y="35"/>
                  </a:moveTo>
                  <a:lnTo>
                    <a:pt x="27" y="0"/>
                  </a:lnTo>
                  <a:lnTo>
                    <a:pt x="0" y="38"/>
                  </a:lnTo>
                  <a:lnTo>
                    <a:pt x="51" y="73"/>
                  </a:lnTo>
                  <a:lnTo>
                    <a:pt x="77" y="35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4" name="Freeform 89"/>
            <p:cNvSpPr/>
            <p:nvPr userDrawn="1"/>
          </p:nvSpPr>
          <p:spPr bwMode="auto">
            <a:xfrm>
              <a:off x="7886700" y="1612900"/>
              <a:ext cx="290513" cy="280988"/>
            </a:xfrm>
            <a:custGeom>
              <a:avLst/>
              <a:gdLst>
                <a:gd name="T0" fmla="*/ 134 w 200"/>
                <a:gd name="T1" fmla="*/ 192 h 192"/>
                <a:gd name="T2" fmla="*/ 0 w 200"/>
                <a:gd name="T3" fmla="*/ 79 h 192"/>
                <a:gd name="T4" fmla="*/ 55 w 200"/>
                <a:gd name="T5" fmla="*/ 14 h 192"/>
                <a:gd name="T6" fmla="*/ 97 w 200"/>
                <a:gd name="T7" fmla="*/ 10 h 192"/>
                <a:gd name="T8" fmla="*/ 186 w 200"/>
                <a:gd name="T9" fmla="*/ 84 h 192"/>
                <a:gd name="T10" fmla="*/ 189 w 200"/>
                <a:gd name="T11" fmla="*/ 126 h 192"/>
                <a:gd name="T12" fmla="*/ 134 w 200"/>
                <a:gd name="T13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192">
                  <a:moveTo>
                    <a:pt x="134" y="192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65" y="1"/>
                    <a:pt x="84" y="0"/>
                    <a:pt x="97" y="10"/>
                  </a:cubicBezTo>
                  <a:cubicBezTo>
                    <a:pt x="186" y="84"/>
                    <a:pt x="186" y="84"/>
                    <a:pt x="186" y="84"/>
                  </a:cubicBezTo>
                  <a:cubicBezTo>
                    <a:pt x="198" y="95"/>
                    <a:pt x="200" y="114"/>
                    <a:pt x="189" y="126"/>
                  </a:cubicBezTo>
                  <a:lnTo>
                    <a:pt x="134" y="192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5" name="Line 90"/>
            <p:cNvSpPr>
              <a:spLocks noChangeShapeType="1"/>
            </p:cNvSpPr>
            <p:nvPr userDrawn="1"/>
          </p:nvSpPr>
          <p:spPr bwMode="auto">
            <a:xfrm>
              <a:off x="7854950" y="1765300"/>
              <a:ext cx="195263" cy="1651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6" name="Line 91"/>
            <p:cNvSpPr>
              <a:spLocks noChangeShapeType="1"/>
            </p:cNvSpPr>
            <p:nvPr userDrawn="1"/>
          </p:nvSpPr>
          <p:spPr bwMode="auto">
            <a:xfrm>
              <a:off x="7797800" y="1835150"/>
              <a:ext cx="195263" cy="1651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7" name="Line 92"/>
            <p:cNvSpPr>
              <a:spLocks noChangeShapeType="1"/>
            </p:cNvSpPr>
            <p:nvPr userDrawn="1"/>
          </p:nvSpPr>
          <p:spPr bwMode="auto">
            <a:xfrm>
              <a:off x="7739063" y="1905000"/>
              <a:ext cx="195263" cy="1651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8" name="Freeform 93"/>
            <p:cNvSpPr/>
            <p:nvPr userDrawn="1"/>
          </p:nvSpPr>
          <p:spPr bwMode="auto">
            <a:xfrm>
              <a:off x="7500938" y="1639888"/>
              <a:ext cx="685800" cy="642938"/>
            </a:xfrm>
            <a:custGeom>
              <a:avLst/>
              <a:gdLst>
                <a:gd name="T0" fmla="*/ 387 w 432"/>
                <a:gd name="T1" fmla="*/ 135 h 405"/>
                <a:gd name="T2" fmla="*/ 384 w 432"/>
                <a:gd name="T3" fmla="*/ 138 h 405"/>
                <a:gd name="T4" fmla="*/ 366 w 432"/>
                <a:gd name="T5" fmla="*/ 160 h 405"/>
                <a:gd name="T6" fmla="*/ 243 w 432"/>
                <a:gd name="T7" fmla="*/ 56 h 405"/>
                <a:gd name="T8" fmla="*/ 261 w 432"/>
                <a:gd name="T9" fmla="*/ 35 h 405"/>
                <a:gd name="T10" fmla="*/ 264 w 432"/>
                <a:gd name="T11" fmla="*/ 31 h 405"/>
                <a:gd name="T12" fmla="*/ 227 w 432"/>
                <a:gd name="T13" fmla="*/ 0 h 405"/>
                <a:gd name="T14" fmla="*/ 0 w 432"/>
                <a:gd name="T15" fmla="*/ 271 h 405"/>
                <a:gd name="T16" fmla="*/ 160 w 432"/>
                <a:gd name="T17" fmla="*/ 405 h 405"/>
                <a:gd name="T18" fmla="*/ 243 w 432"/>
                <a:gd name="T19" fmla="*/ 398 h 405"/>
                <a:gd name="T20" fmla="*/ 432 w 432"/>
                <a:gd name="T21" fmla="*/ 172 h 405"/>
                <a:gd name="T22" fmla="*/ 387 w 432"/>
                <a:gd name="T23" fmla="*/ 13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2" h="405">
                  <a:moveTo>
                    <a:pt x="387" y="135"/>
                  </a:moveTo>
                  <a:lnTo>
                    <a:pt x="384" y="138"/>
                  </a:lnTo>
                  <a:lnTo>
                    <a:pt x="366" y="160"/>
                  </a:lnTo>
                  <a:lnTo>
                    <a:pt x="243" y="56"/>
                  </a:lnTo>
                  <a:lnTo>
                    <a:pt x="261" y="35"/>
                  </a:lnTo>
                  <a:lnTo>
                    <a:pt x="264" y="31"/>
                  </a:lnTo>
                  <a:lnTo>
                    <a:pt x="227" y="0"/>
                  </a:lnTo>
                  <a:lnTo>
                    <a:pt x="0" y="271"/>
                  </a:lnTo>
                  <a:lnTo>
                    <a:pt x="160" y="405"/>
                  </a:lnTo>
                  <a:lnTo>
                    <a:pt x="243" y="398"/>
                  </a:lnTo>
                  <a:lnTo>
                    <a:pt x="432" y="172"/>
                  </a:lnTo>
                  <a:lnTo>
                    <a:pt x="387" y="135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9" name="Freeform 94"/>
            <p:cNvSpPr/>
            <p:nvPr userDrawn="1"/>
          </p:nvSpPr>
          <p:spPr bwMode="auto">
            <a:xfrm>
              <a:off x="7754938" y="2211388"/>
              <a:ext cx="131763" cy="71438"/>
            </a:xfrm>
            <a:custGeom>
              <a:avLst/>
              <a:gdLst>
                <a:gd name="T0" fmla="*/ 0 w 83"/>
                <a:gd name="T1" fmla="*/ 45 h 45"/>
                <a:gd name="T2" fmla="*/ 38 w 83"/>
                <a:gd name="T3" fmla="*/ 0 h 45"/>
                <a:gd name="T4" fmla="*/ 83 w 83"/>
                <a:gd name="T5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3" h="45">
                  <a:moveTo>
                    <a:pt x="0" y="45"/>
                  </a:moveTo>
                  <a:lnTo>
                    <a:pt x="38" y="0"/>
                  </a:lnTo>
                  <a:lnTo>
                    <a:pt x="83" y="38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0" name="Line 95"/>
            <p:cNvSpPr>
              <a:spLocks noChangeShapeType="1"/>
            </p:cNvSpPr>
            <p:nvPr userDrawn="1"/>
          </p:nvSpPr>
          <p:spPr bwMode="auto">
            <a:xfrm>
              <a:off x="7920038" y="1689100"/>
              <a:ext cx="128588" cy="10795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grpSp>
        <p:nvGrpSpPr>
          <p:cNvPr id="111" name="组合 110"/>
          <p:cNvGrpSpPr/>
          <p:nvPr userDrawn="1"/>
        </p:nvGrpSpPr>
        <p:grpSpPr>
          <a:xfrm>
            <a:off x="5253037" y="5582174"/>
            <a:ext cx="7397750" cy="2524125"/>
            <a:chOff x="2405063" y="1201738"/>
            <a:chExt cx="7397750" cy="2524125"/>
          </a:xfrm>
        </p:grpSpPr>
        <p:sp>
          <p:nvSpPr>
            <p:cNvPr id="112" name="Freeform 5"/>
            <p:cNvSpPr/>
            <p:nvPr userDrawn="1"/>
          </p:nvSpPr>
          <p:spPr bwMode="auto">
            <a:xfrm>
              <a:off x="5815013" y="1671638"/>
              <a:ext cx="463550" cy="284163"/>
            </a:xfrm>
            <a:custGeom>
              <a:avLst/>
              <a:gdLst>
                <a:gd name="T0" fmla="*/ 0 w 318"/>
                <a:gd name="T1" fmla="*/ 195 h 195"/>
                <a:gd name="T2" fmla="*/ 318 w 318"/>
                <a:gd name="T3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18" h="195">
                  <a:moveTo>
                    <a:pt x="0" y="195"/>
                  </a:moveTo>
                  <a:cubicBezTo>
                    <a:pt x="47" y="67"/>
                    <a:pt x="190" y="0"/>
                    <a:pt x="318" y="47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3" name="Freeform 6"/>
            <p:cNvSpPr/>
            <p:nvPr userDrawn="1"/>
          </p:nvSpPr>
          <p:spPr bwMode="auto">
            <a:xfrm>
              <a:off x="5892800" y="1763713"/>
              <a:ext cx="358775" cy="220663"/>
            </a:xfrm>
            <a:custGeom>
              <a:avLst/>
              <a:gdLst>
                <a:gd name="T0" fmla="*/ 0 w 246"/>
                <a:gd name="T1" fmla="*/ 151 h 151"/>
                <a:gd name="T2" fmla="*/ 246 w 246"/>
                <a:gd name="T3" fmla="*/ 36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6" h="151">
                  <a:moveTo>
                    <a:pt x="0" y="151"/>
                  </a:moveTo>
                  <a:cubicBezTo>
                    <a:pt x="36" y="52"/>
                    <a:pt x="146" y="0"/>
                    <a:pt x="246" y="36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4" name="Freeform 7"/>
            <p:cNvSpPr/>
            <p:nvPr userDrawn="1"/>
          </p:nvSpPr>
          <p:spPr bwMode="auto">
            <a:xfrm>
              <a:off x="5972175" y="1858963"/>
              <a:ext cx="250825" cy="153988"/>
            </a:xfrm>
            <a:custGeom>
              <a:avLst/>
              <a:gdLst>
                <a:gd name="T0" fmla="*/ 0 w 173"/>
                <a:gd name="T1" fmla="*/ 106 h 106"/>
                <a:gd name="T2" fmla="*/ 173 w 173"/>
                <a:gd name="T3" fmla="*/ 2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3" h="106">
                  <a:moveTo>
                    <a:pt x="0" y="106"/>
                  </a:moveTo>
                  <a:cubicBezTo>
                    <a:pt x="25" y="36"/>
                    <a:pt x="103" y="0"/>
                    <a:pt x="173" y="25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5" name="Freeform 8"/>
            <p:cNvSpPr/>
            <p:nvPr userDrawn="1"/>
          </p:nvSpPr>
          <p:spPr bwMode="auto">
            <a:xfrm>
              <a:off x="6084888" y="1993900"/>
              <a:ext cx="117475" cy="119063"/>
            </a:xfrm>
            <a:custGeom>
              <a:avLst/>
              <a:gdLst>
                <a:gd name="T0" fmla="*/ 72 w 80"/>
                <a:gd name="T1" fmla="*/ 26 h 81"/>
                <a:gd name="T2" fmla="*/ 25 w 80"/>
                <a:gd name="T3" fmla="*/ 8 h 81"/>
                <a:gd name="T4" fmla="*/ 8 w 80"/>
                <a:gd name="T5" fmla="*/ 55 h 81"/>
                <a:gd name="T6" fmla="*/ 55 w 80"/>
                <a:gd name="T7" fmla="*/ 73 h 81"/>
                <a:gd name="T8" fmla="*/ 72 w 80"/>
                <a:gd name="T9" fmla="*/ 2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81">
                  <a:moveTo>
                    <a:pt x="72" y="26"/>
                  </a:moveTo>
                  <a:cubicBezTo>
                    <a:pt x="64" y="8"/>
                    <a:pt x="43" y="0"/>
                    <a:pt x="25" y="8"/>
                  </a:cubicBezTo>
                  <a:cubicBezTo>
                    <a:pt x="7" y="17"/>
                    <a:pt x="0" y="38"/>
                    <a:pt x="8" y="55"/>
                  </a:cubicBezTo>
                  <a:cubicBezTo>
                    <a:pt x="16" y="73"/>
                    <a:pt x="37" y="81"/>
                    <a:pt x="55" y="73"/>
                  </a:cubicBezTo>
                  <a:cubicBezTo>
                    <a:pt x="73" y="64"/>
                    <a:pt x="80" y="43"/>
                    <a:pt x="72" y="26"/>
                  </a:cubicBez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6" name="Freeform 9"/>
            <p:cNvSpPr/>
            <p:nvPr userDrawn="1"/>
          </p:nvSpPr>
          <p:spPr bwMode="auto">
            <a:xfrm>
              <a:off x="3705225" y="3251200"/>
              <a:ext cx="417513" cy="419100"/>
            </a:xfrm>
            <a:custGeom>
              <a:avLst/>
              <a:gdLst>
                <a:gd name="T0" fmla="*/ 190 w 286"/>
                <a:gd name="T1" fmla="*/ 233 h 287"/>
                <a:gd name="T2" fmla="*/ 249 w 286"/>
                <a:gd name="T3" fmla="*/ 173 h 287"/>
                <a:gd name="T4" fmla="*/ 247 w 286"/>
                <a:gd name="T5" fmla="*/ 37 h 287"/>
                <a:gd name="T6" fmla="*/ 112 w 286"/>
                <a:gd name="T7" fmla="*/ 38 h 287"/>
                <a:gd name="T8" fmla="*/ 22 w 286"/>
                <a:gd name="T9" fmla="*/ 130 h 287"/>
                <a:gd name="T10" fmla="*/ 23 w 286"/>
                <a:gd name="T11" fmla="*/ 209 h 287"/>
                <a:gd name="T12" fmla="*/ 80 w 286"/>
                <a:gd name="T13" fmla="*/ 265 h 287"/>
                <a:gd name="T14" fmla="*/ 159 w 286"/>
                <a:gd name="T15" fmla="*/ 264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6" h="287">
                  <a:moveTo>
                    <a:pt x="190" y="233"/>
                  </a:moveTo>
                  <a:cubicBezTo>
                    <a:pt x="249" y="173"/>
                    <a:pt x="249" y="173"/>
                    <a:pt x="249" y="173"/>
                  </a:cubicBezTo>
                  <a:cubicBezTo>
                    <a:pt x="286" y="135"/>
                    <a:pt x="285" y="74"/>
                    <a:pt x="247" y="37"/>
                  </a:cubicBezTo>
                  <a:cubicBezTo>
                    <a:pt x="209" y="0"/>
                    <a:pt x="149" y="0"/>
                    <a:pt x="112" y="38"/>
                  </a:cubicBezTo>
                  <a:cubicBezTo>
                    <a:pt x="22" y="130"/>
                    <a:pt x="22" y="130"/>
                    <a:pt x="22" y="130"/>
                  </a:cubicBezTo>
                  <a:cubicBezTo>
                    <a:pt x="0" y="152"/>
                    <a:pt x="1" y="187"/>
                    <a:pt x="23" y="209"/>
                  </a:cubicBezTo>
                  <a:cubicBezTo>
                    <a:pt x="80" y="265"/>
                    <a:pt x="80" y="265"/>
                    <a:pt x="80" y="265"/>
                  </a:cubicBezTo>
                  <a:cubicBezTo>
                    <a:pt x="102" y="287"/>
                    <a:pt x="138" y="286"/>
                    <a:pt x="159" y="264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7" name="Freeform 10"/>
            <p:cNvSpPr/>
            <p:nvPr userDrawn="1"/>
          </p:nvSpPr>
          <p:spPr bwMode="auto">
            <a:xfrm>
              <a:off x="3970338" y="3073400"/>
              <a:ext cx="744538" cy="328613"/>
            </a:xfrm>
            <a:custGeom>
              <a:avLst/>
              <a:gdLst>
                <a:gd name="T0" fmla="*/ 0 w 510"/>
                <a:gd name="T1" fmla="*/ 226 h 226"/>
                <a:gd name="T2" fmla="*/ 65 w 510"/>
                <a:gd name="T3" fmla="*/ 159 h 226"/>
                <a:gd name="T4" fmla="*/ 99 w 510"/>
                <a:gd name="T5" fmla="*/ 126 h 226"/>
                <a:gd name="T6" fmla="*/ 266 w 510"/>
                <a:gd name="T7" fmla="*/ 113 h 226"/>
                <a:gd name="T8" fmla="*/ 266 w 510"/>
                <a:gd name="T9" fmla="*/ 113 h 226"/>
                <a:gd name="T10" fmla="*/ 446 w 510"/>
                <a:gd name="T11" fmla="*/ 84 h 226"/>
                <a:gd name="T12" fmla="*/ 510 w 510"/>
                <a:gd name="T13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226">
                  <a:moveTo>
                    <a:pt x="0" y="226"/>
                  </a:moveTo>
                  <a:cubicBezTo>
                    <a:pt x="65" y="159"/>
                    <a:pt x="65" y="159"/>
                    <a:pt x="65" y="159"/>
                  </a:cubicBezTo>
                  <a:cubicBezTo>
                    <a:pt x="99" y="126"/>
                    <a:pt x="99" y="126"/>
                    <a:pt x="99" y="126"/>
                  </a:cubicBezTo>
                  <a:cubicBezTo>
                    <a:pt x="144" y="82"/>
                    <a:pt x="214" y="76"/>
                    <a:pt x="266" y="113"/>
                  </a:cubicBezTo>
                  <a:cubicBezTo>
                    <a:pt x="266" y="113"/>
                    <a:pt x="266" y="113"/>
                    <a:pt x="266" y="113"/>
                  </a:cubicBezTo>
                  <a:cubicBezTo>
                    <a:pt x="324" y="153"/>
                    <a:pt x="403" y="140"/>
                    <a:pt x="446" y="84"/>
                  </a:cubicBezTo>
                  <a:cubicBezTo>
                    <a:pt x="510" y="0"/>
                    <a:pt x="510" y="0"/>
                    <a:pt x="510" y="0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8" name="Freeform 11"/>
            <p:cNvSpPr/>
            <p:nvPr userDrawn="1"/>
          </p:nvSpPr>
          <p:spPr bwMode="auto">
            <a:xfrm>
              <a:off x="3833813" y="3343275"/>
              <a:ext cx="200025" cy="195263"/>
            </a:xfrm>
            <a:custGeom>
              <a:avLst/>
              <a:gdLst>
                <a:gd name="T0" fmla="*/ 0 w 137"/>
                <a:gd name="T1" fmla="*/ 0 h 134"/>
                <a:gd name="T2" fmla="*/ 137 w 137"/>
                <a:gd name="T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7" h="134">
                  <a:moveTo>
                    <a:pt x="0" y="0"/>
                  </a:moveTo>
                  <a:cubicBezTo>
                    <a:pt x="2" y="2"/>
                    <a:pt x="137" y="134"/>
                    <a:pt x="137" y="134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9" name="Freeform 12"/>
            <p:cNvSpPr/>
            <p:nvPr userDrawn="1"/>
          </p:nvSpPr>
          <p:spPr bwMode="auto">
            <a:xfrm>
              <a:off x="3978275" y="1624013"/>
              <a:ext cx="1622425" cy="1295400"/>
            </a:xfrm>
            <a:custGeom>
              <a:avLst/>
              <a:gdLst>
                <a:gd name="T0" fmla="*/ 1089 w 1113"/>
                <a:gd name="T1" fmla="*/ 554 h 888"/>
                <a:gd name="T2" fmla="*/ 1113 w 1113"/>
                <a:gd name="T3" fmla="*/ 649 h 888"/>
                <a:gd name="T4" fmla="*/ 155 w 1113"/>
                <a:gd name="T5" fmla="*/ 888 h 888"/>
                <a:gd name="T6" fmla="*/ 13 w 1113"/>
                <a:gd name="T7" fmla="*/ 319 h 888"/>
                <a:gd name="T8" fmla="*/ 80 w 1113"/>
                <a:gd name="T9" fmla="*/ 207 h 888"/>
                <a:gd name="T10" fmla="*/ 859 w 1113"/>
                <a:gd name="T11" fmla="*/ 12 h 888"/>
                <a:gd name="T12" fmla="*/ 971 w 1113"/>
                <a:gd name="T13" fmla="*/ 80 h 888"/>
                <a:gd name="T14" fmla="*/ 1066 w 1113"/>
                <a:gd name="T15" fmla="*/ 460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3" h="888">
                  <a:moveTo>
                    <a:pt x="1089" y="554"/>
                  </a:moveTo>
                  <a:cubicBezTo>
                    <a:pt x="1113" y="649"/>
                    <a:pt x="1113" y="649"/>
                    <a:pt x="1113" y="649"/>
                  </a:cubicBezTo>
                  <a:cubicBezTo>
                    <a:pt x="155" y="888"/>
                    <a:pt x="155" y="888"/>
                    <a:pt x="155" y="888"/>
                  </a:cubicBezTo>
                  <a:cubicBezTo>
                    <a:pt x="13" y="319"/>
                    <a:pt x="13" y="319"/>
                    <a:pt x="13" y="319"/>
                  </a:cubicBezTo>
                  <a:cubicBezTo>
                    <a:pt x="0" y="269"/>
                    <a:pt x="30" y="219"/>
                    <a:pt x="80" y="207"/>
                  </a:cubicBezTo>
                  <a:cubicBezTo>
                    <a:pt x="859" y="12"/>
                    <a:pt x="859" y="12"/>
                    <a:pt x="859" y="12"/>
                  </a:cubicBezTo>
                  <a:cubicBezTo>
                    <a:pt x="908" y="0"/>
                    <a:pt x="959" y="30"/>
                    <a:pt x="971" y="80"/>
                  </a:cubicBezTo>
                  <a:cubicBezTo>
                    <a:pt x="1066" y="460"/>
                    <a:pt x="1066" y="460"/>
                    <a:pt x="1066" y="460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0" name="Freeform 13"/>
            <p:cNvSpPr/>
            <p:nvPr userDrawn="1"/>
          </p:nvSpPr>
          <p:spPr bwMode="auto">
            <a:xfrm>
              <a:off x="4089400" y="1739900"/>
              <a:ext cx="1385888" cy="1019175"/>
            </a:xfrm>
            <a:custGeom>
              <a:avLst/>
              <a:gdLst>
                <a:gd name="T0" fmla="*/ 929 w 951"/>
                <a:gd name="T1" fmla="*/ 401 h 698"/>
                <a:gd name="T2" fmla="*/ 951 w 951"/>
                <a:gd name="T3" fmla="*/ 490 h 698"/>
                <a:gd name="T4" fmla="*/ 118 w 951"/>
                <a:gd name="T5" fmla="*/ 698 h 698"/>
                <a:gd name="T6" fmla="*/ 7 w 951"/>
                <a:gd name="T7" fmla="*/ 255 h 698"/>
                <a:gd name="T8" fmla="*/ 46 w 951"/>
                <a:gd name="T9" fmla="*/ 189 h 698"/>
                <a:gd name="T10" fmla="*/ 775 w 951"/>
                <a:gd name="T11" fmla="*/ 8 h 698"/>
                <a:gd name="T12" fmla="*/ 840 w 951"/>
                <a:gd name="T13" fmla="*/ 47 h 698"/>
                <a:gd name="T14" fmla="*/ 929 w 951"/>
                <a:gd name="T15" fmla="*/ 401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1" h="698">
                  <a:moveTo>
                    <a:pt x="929" y="401"/>
                  </a:moveTo>
                  <a:cubicBezTo>
                    <a:pt x="951" y="490"/>
                    <a:pt x="951" y="490"/>
                    <a:pt x="951" y="490"/>
                  </a:cubicBezTo>
                  <a:cubicBezTo>
                    <a:pt x="118" y="698"/>
                    <a:pt x="118" y="698"/>
                    <a:pt x="118" y="698"/>
                  </a:cubicBezTo>
                  <a:cubicBezTo>
                    <a:pt x="7" y="255"/>
                    <a:pt x="7" y="255"/>
                    <a:pt x="7" y="255"/>
                  </a:cubicBezTo>
                  <a:cubicBezTo>
                    <a:pt x="0" y="226"/>
                    <a:pt x="17" y="197"/>
                    <a:pt x="46" y="189"/>
                  </a:cubicBezTo>
                  <a:cubicBezTo>
                    <a:pt x="775" y="8"/>
                    <a:pt x="775" y="8"/>
                    <a:pt x="775" y="8"/>
                  </a:cubicBezTo>
                  <a:cubicBezTo>
                    <a:pt x="804" y="0"/>
                    <a:pt x="833" y="18"/>
                    <a:pt x="840" y="47"/>
                  </a:cubicBezTo>
                  <a:cubicBezTo>
                    <a:pt x="929" y="401"/>
                    <a:pt x="929" y="401"/>
                    <a:pt x="929" y="401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1" name="Freeform 14"/>
            <p:cNvSpPr/>
            <p:nvPr userDrawn="1"/>
          </p:nvSpPr>
          <p:spPr bwMode="auto">
            <a:xfrm>
              <a:off x="4683125" y="2790825"/>
              <a:ext cx="519113" cy="234950"/>
            </a:xfrm>
            <a:custGeom>
              <a:avLst/>
              <a:gdLst>
                <a:gd name="T0" fmla="*/ 327 w 327"/>
                <a:gd name="T1" fmla="*/ 71 h 148"/>
                <a:gd name="T2" fmla="*/ 18 w 327"/>
                <a:gd name="T3" fmla="*/ 148 h 148"/>
                <a:gd name="T4" fmla="*/ 0 w 327"/>
                <a:gd name="T5" fmla="*/ 77 h 148"/>
                <a:gd name="T6" fmla="*/ 310 w 327"/>
                <a:gd name="T7" fmla="*/ 0 h 148"/>
                <a:gd name="T8" fmla="*/ 327 w 327"/>
                <a:gd name="T9" fmla="*/ 7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7" h="148">
                  <a:moveTo>
                    <a:pt x="327" y="71"/>
                  </a:moveTo>
                  <a:lnTo>
                    <a:pt x="18" y="148"/>
                  </a:lnTo>
                  <a:lnTo>
                    <a:pt x="0" y="77"/>
                  </a:lnTo>
                  <a:lnTo>
                    <a:pt x="310" y="0"/>
                  </a:lnTo>
                  <a:lnTo>
                    <a:pt x="327" y="71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2" name="Freeform 15"/>
            <p:cNvSpPr/>
            <p:nvPr userDrawn="1"/>
          </p:nvSpPr>
          <p:spPr bwMode="auto">
            <a:xfrm>
              <a:off x="4775200" y="2713038"/>
              <a:ext cx="280988" cy="171450"/>
            </a:xfrm>
            <a:custGeom>
              <a:avLst/>
              <a:gdLst>
                <a:gd name="T0" fmla="*/ 177 w 177"/>
                <a:gd name="T1" fmla="*/ 68 h 108"/>
                <a:gd name="T2" fmla="*/ 18 w 177"/>
                <a:gd name="T3" fmla="*/ 108 h 108"/>
                <a:gd name="T4" fmla="*/ 0 w 177"/>
                <a:gd name="T5" fmla="*/ 40 h 108"/>
                <a:gd name="T6" fmla="*/ 159 w 177"/>
                <a:gd name="T7" fmla="*/ 0 h 108"/>
                <a:gd name="T8" fmla="*/ 177 w 177"/>
                <a:gd name="T9" fmla="*/ 6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108">
                  <a:moveTo>
                    <a:pt x="177" y="68"/>
                  </a:moveTo>
                  <a:lnTo>
                    <a:pt x="18" y="108"/>
                  </a:lnTo>
                  <a:lnTo>
                    <a:pt x="0" y="40"/>
                  </a:lnTo>
                  <a:lnTo>
                    <a:pt x="159" y="0"/>
                  </a:lnTo>
                  <a:lnTo>
                    <a:pt x="177" y="68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3" name="Freeform 16"/>
            <p:cNvSpPr/>
            <p:nvPr userDrawn="1"/>
          </p:nvSpPr>
          <p:spPr bwMode="auto">
            <a:xfrm>
              <a:off x="4332288" y="2089150"/>
              <a:ext cx="971550" cy="517525"/>
            </a:xfrm>
            <a:custGeom>
              <a:avLst/>
              <a:gdLst>
                <a:gd name="T0" fmla="*/ 0 w 612"/>
                <a:gd name="T1" fmla="*/ 326 h 326"/>
                <a:gd name="T2" fmla="*/ 126 w 612"/>
                <a:gd name="T3" fmla="*/ 31 h 326"/>
                <a:gd name="T4" fmla="*/ 319 w 612"/>
                <a:gd name="T5" fmla="*/ 130 h 326"/>
                <a:gd name="T6" fmla="*/ 367 w 612"/>
                <a:gd name="T7" fmla="*/ 0 h 326"/>
                <a:gd name="T8" fmla="*/ 612 w 612"/>
                <a:gd name="T9" fmla="*/ 14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2" h="326">
                  <a:moveTo>
                    <a:pt x="0" y="326"/>
                  </a:moveTo>
                  <a:lnTo>
                    <a:pt x="126" y="31"/>
                  </a:lnTo>
                  <a:lnTo>
                    <a:pt x="319" y="130"/>
                  </a:lnTo>
                  <a:lnTo>
                    <a:pt x="367" y="0"/>
                  </a:lnTo>
                  <a:lnTo>
                    <a:pt x="612" y="146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4" name="Freeform 17"/>
            <p:cNvSpPr/>
            <p:nvPr userDrawn="1"/>
          </p:nvSpPr>
          <p:spPr bwMode="auto">
            <a:xfrm>
              <a:off x="5289550" y="2863850"/>
              <a:ext cx="933450" cy="862013"/>
            </a:xfrm>
            <a:custGeom>
              <a:avLst/>
              <a:gdLst>
                <a:gd name="T0" fmla="*/ 461 w 588"/>
                <a:gd name="T1" fmla="*/ 507 h 543"/>
                <a:gd name="T2" fmla="*/ 433 w 588"/>
                <a:gd name="T3" fmla="*/ 543 h 543"/>
                <a:gd name="T4" fmla="*/ 0 w 588"/>
                <a:gd name="T5" fmla="*/ 195 h 543"/>
                <a:gd name="T6" fmla="*/ 156 w 588"/>
                <a:gd name="T7" fmla="*/ 0 h 543"/>
                <a:gd name="T8" fmla="*/ 588 w 588"/>
                <a:gd name="T9" fmla="*/ 348 h 543"/>
                <a:gd name="T10" fmla="*/ 486 w 588"/>
                <a:gd name="T11" fmla="*/ 476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8" h="543">
                  <a:moveTo>
                    <a:pt x="461" y="507"/>
                  </a:moveTo>
                  <a:lnTo>
                    <a:pt x="433" y="543"/>
                  </a:lnTo>
                  <a:lnTo>
                    <a:pt x="0" y="195"/>
                  </a:lnTo>
                  <a:lnTo>
                    <a:pt x="156" y="0"/>
                  </a:lnTo>
                  <a:lnTo>
                    <a:pt x="588" y="348"/>
                  </a:lnTo>
                  <a:lnTo>
                    <a:pt x="486" y="476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5" name="Freeform 18"/>
            <p:cNvSpPr/>
            <p:nvPr userDrawn="1"/>
          </p:nvSpPr>
          <p:spPr bwMode="auto">
            <a:xfrm>
              <a:off x="5289550" y="2921000"/>
              <a:ext cx="889000" cy="804863"/>
            </a:xfrm>
            <a:custGeom>
              <a:avLst/>
              <a:gdLst>
                <a:gd name="T0" fmla="*/ 461 w 560"/>
                <a:gd name="T1" fmla="*/ 471 h 507"/>
                <a:gd name="T2" fmla="*/ 433 w 560"/>
                <a:gd name="T3" fmla="*/ 507 h 507"/>
                <a:gd name="T4" fmla="*/ 0 w 560"/>
                <a:gd name="T5" fmla="*/ 159 h 507"/>
                <a:gd name="T6" fmla="*/ 127 w 560"/>
                <a:gd name="T7" fmla="*/ 0 h 507"/>
                <a:gd name="T8" fmla="*/ 560 w 560"/>
                <a:gd name="T9" fmla="*/ 348 h 507"/>
                <a:gd name="T10" fmla="*/ 494 w 560"/>
                <a:gd name="T11" fmla="*/ 43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0" h="507">
                  <a:moveTo>
                    <a:pt x="461" y="471"/>
                  </a:moveTo>
                  <a:lnTo>
                    <a:pt x="433" y="507"/>
                  </a:lnTo>
                  <a:lnTo>
                    <a:pt x="0" y="159"/>
                  </a:lnTo>
                  <a:lnTo>
                    <a:pt x="127" y="0"/>
                  </a:lnTo>
                  <a:lnTo>
                    <a:pt x="560" y="348"/>
                  </a:lnTo>
                  <a:lnTo>
                    <a:pt x="494" y="430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" name="Freeform 19"/>
            <p:cNvSpPr/>
            <p:nvPr userDrawn="1"/>
          </p:nvSpPr>
          <p:spPr bwMode="auto">
            <a:xfrm>
              <a:off x="5659438" y="2628900"/>
              <a:ext cx="708025" cy="687388"/>
            </a:xfrm>
            <a:custGeom>
              <a:avLst/>
              <a:gdLst>
                <a:gd name="T0" fmla="*/ 278 w 446"/>
                <a:gd name="T1" fmla="*/ 433 h 433"/>
                <a:gd name="T2" fmla="*/ 0 w 446"/>
                <a:gd name="T3" fmla="*/ 211 h 433"/>
                <a:gd name="T4" fmla="*/ 169 w 446"/>
                <a:gd name="T5" fmla="*/ 0 h 433"/>
                <a:gd name="T6" fmla="*/ 446 w 446"/>
                <a:gd name="T7" fmla="*/ 224 h 433"/>
                <a:gd name="T8" fmla="*/ 278 w 446"/>
                <a:gd name="T9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6" h="433">
                  <a:moveTo>
                    <a:pt x="278" y="433"/>
                  </a:moveTo>
                  <a:lnTo>
                    <a:pt x="0" y="211"/>
                  </a:lnTo>
                  <a:lnTo>
                    <a:pt x="169" y="0"/>
                  </a:lnTo>
                  <a:lnTo>
                    <a:pt x="446" y="224"/>
                  </a:lnTo>
                  <a:lnTo>
                    <a:pt x="278" y="433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" name="Freeform 20"/>
            <p:cNvSpPr/>
            <p:nvPr userDrawn="1"/>
          </p:nvSpPr>
          <p:spPr bwMode="auto">
            <a:xfrm>
              <a:off x="5580063" y="2806700"/>
              <a:ext cx="153988" cy="157163"/>
            </a:xfrm>
            <a:custGeom>
              <a:avLst/>
              <a:gdLst>
                <a:gd name="T0" fmla="*/ 50 w 97"/>
                <a:gd name="T1" fmla="*/ 99 h 99"/>
                <a:gd name="T2" fmla="*/ 0 w 97"/>
                <a:gd name="T3" fmla="*/ 58 h 99"/>
                <a:gd name="T4" fmla="*/ 46 w 97"/>
                <a:gd name="T5" fmla="*/ 0 h 99"/>
                <a:gd name="T6" fmla="*/ 97 w 97"/>
                <a:gd name="T7" fmla="*/ 41 h 99"/>
                <a:gd name="T8" fmla="*/ 50 w 97"/>
                <a:gd name="T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99">
                  <a:moveTo>
                    <a:pt x="50" y="99"/>
                  </a:moveTo>
                  <a:lnTo>
                    <a:pt x="0" y="58"/>
                  </a:lnTo>
                  <a:lnTo>
                    <a:pt x="46" y="0"/>
                  </a:lnTo>
                  <a:lnTo>
                    <a:pt x="97" y="41"/>
                  </a:lnTo>
                  <a:lnTo>
                    <a:pt x="50" y="99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" name="Freeform 21"/>
            <p:cNvSpPr/>
            <p:nvPr userDrawn="1"/>
          </p:nvSpPr>
          <p:spPr bwMode="auto">
            <a:xfrm>
              <a:off x="6100763" y="3224213"/>
              <a:ext cx="153988" cy="157163"/>
            </a:xfrm>
            <a:custGeom>
              <a:avLst/>
              <a:gdLst>
                <a:gd name="T0" fmla="*/ 50 w 97"/>
                <a:gd name="T1" fmla="*/ 99 h 99"/>
                <a:gd name="T2" fmla="*/ 0 w 97"/>
                <a:gd name="T3" fmla="*/ 58 h 99"/>
                <a:gd name="T4" fmla="*/ 47 w 97"/>
                <a:gd name="T5" fmla="*/ 0 h 99"/>
                <a:gd name="T6" fmla="*/ 97 w 97"/>
                <a:gd name="T7" fmla="*/ 41 h 99"/>
                <a:gd name="T8" fmla="*/ 50 w 97"/>
                <a:gd name="T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99">
                  <a:moveTo>
                    <a:pt x="50" y="99"/>
                  </a:moveTo>
                  <a:lnTo>
                    <a:pt x="0" y="58"/>
                  </a:lnTo>
                  <a:lnTo>
                    <a:pt x="47" y="0"/>
                  </a:lnTo>
                  <a:lnTo>
                    <a:pt x="97" y="41"/>
                  </a:lnTo>
                  <a:lnTo>
                    <a:pt x="50" y="99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9" name="Line 22"/>
            <p:cNvSpPr>
              <a:spLocks noChangeShapeType="1"/>
            </p:cNvSpPr>
            <p:nvPr userDrawn="1"/>
          </p:nvSpPr>
          <p:spPr bwMode="auto">
            <a:xfrm>
              <a:off x="5942013" y="2749550"/>
              <a:ext cx="311150" cy="2508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0" name="Line 23"/>
            <p:cNvSpPr>
              <a:spLocks noChangeShapeType="1"/>
            </p:cNvSpPr>
            <p:nvPr userDrawn="1"/>
          </p:nvSpPr>
          <p:spPr bwMode="auto">
            <a:xfrm>
              <a:off x="5864225" y="2844800"/>
              <a:ext cx="312738" cy="249238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1" name="Line 24"/>
            <p:cNvSpPr>
              <a:spLocks noChangeShapeType="1"/>
            </p:cNvSpPr>
            <p:nvPr userDrawn="1"/>
          </p:nvSpPr>
          <p:spPr bwMode="auto">
            <a:xfrm>
              <a:off x="5789613" y="2940050"/>
              <a:ext cx="311150" cy="2508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2" name="Line 25"/>
            <p:cNvSpPr>
              <a:spLocks noChangeShapeType="1"/>
            </p:cNvSpPr>
            <p:nvPr userDrawn="1"/>
          </p:nvSpPr>
          <p:spPr bwMode="auto">
            <a:xfrm flipH="1">
              <a:off x="4926013" y="3370263"/>
              <a:ext cx="76200" cy="77788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3" name="Line 26"/>
            <p:cNvSpPr>
              <a:spLocks noChangeShapeType="1"/>
            </p:cNvSpPr>
            <p:nvPr userDrawn="1"/>
          </p:nvSpPr>
          <p:spPr bwMode="auto">
            <a:xfrm flipH="1">
              <a:off x="4745038" y="3551238"/>
              <a:ext cx="76200" cy="762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4" name="Line 27"/>
            <p:cNvSpPr>
              <a:spLocks noChangeShapeType="1"/>
            </p:cNvSpPr>
            <p:nvPr userDrawn="1"/>
          </p:nvSpPr>
          <p:spPr bwMode="auto">
            <a:xfrm>
              <a:off x="4745038" y="3370263"/>
              <a:ext cx="76200" cy="77788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5" name="Line 28"/>
            <p:cNvSpPr>
              <a:spLocks noChangeShapeType="1"/>
            </p:cNvSpPr>
            <p:nvPr userDrawn="1"/>
          </p:nvSpPr>
          <p:spPr bwMode="auto">
            <a:xfrm>
              <a:off x="4926013" y="3551238"/>
              <a:ext cx="76200" cy="762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6" name="Line 29"/>
            <p:cNvSpPr>
              <a:spLocks noChangeShapeType="1"/>
            </p:cNvSpPr>
            <p:nvPr userDrawn="1"/>
          </p:nvSpPr>
          <p:spPr bwMode="auto">
            <a:xfrm flipH="1">
              <a:off x="2824163" y="2967038"/>
              <a:ext cx="77788" cy="762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7" name="Line 30"/>
            <p:cNvSpPr>
              <a:spLocks noChangeShapeType="1"/>
            </p:cNvSpPr>
            <p:nvPr userDrawn="1"/>
          </p:nvSpPr>
          <p:spPr bwMode="auto">
            <a:xfrm flipH="1">
              <a:off x="2644775" y="3148013"/>
              <a:ext cx="76200" cy="74613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8" name="Line 31"/>
            <p:cNvSpPr>
              <a:spLocks noChangeShapeType="1"/>
            </p:cNvSpPr>
            <p:nvPr userDrawn="1"/>
          </p:nvSpPr>
          <p:spPr bwMode="auto">
            <a:xfrm>
              <a:off x="2644775" y="2967038"/>
              <a:ext cx="76200" cy="762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9" name="Line 32"/>
            <p:cNvSpPr>
              <a:spLocks noChangeShapeType="1"/>
            </p:cNvSpPr>
            <p:nvPr userDrawn="1"/>
          </p:nvSpPr>
          <p:spPr bwMode="auto">
            <a:xfrm>
              <a:off x="2824163" y="3148013"/>
              <a:ext cx="77788" cy="74613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0" name="Line 33"/>
            <p:cNvSpPr>
              <a:spLocks noChangeShapeType="1"/>
            </p:cNvSpPr>
            <p:nvPr userDrawn="1"/>
          </p:nvSpPr>
          <p:spPr bwMode="auto">
            <a:xfrm flipH="1">
              <a:off x="9728200" y="2589213"/>
              <a:ext cx="74613" cy="77788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1" name="Line 34"/>
            <p:cNvSpPr>
              <a:spLocks noChangeShapeType="1"/>
            </p:cNvSpPr>
            <p:nvPr userDrawn="1"/>
          </p:nvSpPr>
          <p:spPr bwMode="auto">
            <a:xfrm flipH="1">
              <a:off x="9547225" y="2770188"/>
              <a:ext cx="76200" cy="762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2" name="Line 35"/>
            <p:cNvSpPr>
              <a:spLocks noChangeShapeType="1"/>
            </p:cNvSpPr>
            <p:nvPr userDrawn="1"/>
          </p:nvSpPr>
          <p:spPr bwMode="auto">
            <a:xfrm>
              <a:off x="9547225" y="2589213"/>
              <a:ext cx="76200" cy="77788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3" name="Line 36"/>
            <p:cNvSpPr>
              <a:spLocks noChangeShapeType="1"/>
            </p:cNvSpPr>
            <p:nvPr userDrawn="1"/>
          </p:nvSpPr>
          <p:spPr bwMode="auto">
            <a:xfrm>
              <a:off x="9728200" y="2770188"/>
              <a:ext cx="74613" cy="762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4" name="Line 37"/>
            <p:cNvSpPr>
              <a:spLocks noChangeShapeType="1"/>
            </p:cNvSpPr>
            <p:nvPr userDrawn="1"/>
          </p:nvSpPr>
          <p:spPr bwMode="auto">
            <a:xfrm flipH="1">
              <a:off x="5354638" y="1201738"/>
              <a:ext cx="76200" cy="762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5" name="Line 38"/>
            <p:cNvSpPr>
              <a:spLocks noChangeShapeType="1"/>
            </p:cNvSpPr>
            <p:nvPr userDrawn="1"/>
          </p:nvSpPr>
          <p:spPr bwMode="auto">
            <a:xfrm flipH="1">
              <a:off x="5173663" y="1381125"/>
              <a:ext cx="77788" cy="77788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6" name="Line 39"/>
            <p:cNvSpPr>
              <a:spLocks noChangeShapeType="1"/>
            </p:cNvSpPr>
            <p:nvPr userDrawn="1"/>
          </p:nvSpPr>
          <p:spPr bwMode="auto">
            <a:xfrm>
              <a:off x="5173663" y="1201738"/>
              <a:ext cx="77788" cy="762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7" name="Line 40"/>
            <p:cNvSpPr>
              <a:spLocks noChangeShapeType="1"/>
            </p:cNvSpPr>
            <p:nvPr userDrawn="1"/>
          </p:nvSpPr>
          <p:spPr bwMode="auto">
            <a:xfrm>
              <a:off x="5354638" y="1381125"/>
              <a:ext cx="76200" cy="77788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8" name="Oval 41"/>
            <p:cNvSpPr>
              <a:spLocks noChangeArrowheads="1"/>
            </p:cNvSpPr>
            <p:nvPr userDrawn="1"/>
          </p:nvSpPr>
          <p:spPr bwMode="auto">
            <a:xfrm>
              <a:off x="5788025" y="2276475"/>
              <a:ext cx="152400" cy="153988"/>
            </a:xfrm>
            <a:prstGeom prst="ellips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9" name="Freeform 42"/>
            <p:cNvSpPr/>
            <p:nvPr userDrawn="1"/>
          </p:nvSpPr>
          <p:spPr bwMode="auto">
            <a:xfrm>
              <a:off x="3136900" y="2136775"/>
              <a:ext cx="661988" cy="984250"/>
            </a:xfrm>
            <a:custGeom>
              <a:avLst/>
              <a:gdLst>
                <a:gd name="T0" fmla="*/ 300 w 417"/>
                <a:gd name="T1" fmla="*/ 620 h 620"/>
                <a:gd name="T2" fmla="*/ 0 w 417"/>
                <a:gd name="T3" fmla="*/ 557 h 620"/>
                <a:gd name="T4" fmla="*/ 117 w 417"/>
                <a:gd name="T5" fmla="*/ 0 h 620"/>
                <a:gd name="T6" fmla="*/ 417 w 417"/>
                <a:gd name="T7" fmla="*/ 63 h 620"/>
                <a:gd name="T8" fmla="*/ 328 w 417"/>
                <a:gd name="T9" fmla="*/ 489 h 620"/>
                <a:gd name="T10" fmla="*/ 320 w 417"/>
                <a:gd name="T11" fmla="*/ 522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7" h="620">
                  <a:moveTo>
                    <a:pt x="300" y="620"/>
                  </a:moveTo>
                  <a:lnTo>
                    <a:pt x="0" y="557"/>
                  </a:lnTo>
                  <a:lnTo>
                    <a:pt x="117" y="0"/>
                  </a:lnTo>
                  <a:lnTo>
                    <a:pt x="417" y="63"/>
                  </a:lnTo>
                  <a:lnTo>
                    <a:pt x="328" y="489"/>
                  </a:lnTo>
                  <a:lnTo>
                    <a:pt x="320" y="522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0" name="Freeform 43"/>
            <p:cNvSpPr/>
            <p:nvPr userDrawn="1"/>
          </p:nvSpPr>
          <p:spPr bwMode="auto">
            <a:xfrm>
              <a:off x="3267075" y="2276475"/>
              <a:ext cx="503238" cy="225425"/>
            </a:xfrm>
            <a:custGeom>
              <a:avLst/>
              <a:gdLst>
                <a:gd name="T0" fmla="*/ 300 w 317"/>
                <a:gd name="T1" fmla="*/ 142 h 142"/>
                <a:gd name="T2" fmla="*/ 0 w 317"/>
                <a:gd name="T3" fmla="*/ 79 h 142"/>
                <a:gd name="T4" fmla="*/ 16 w 317"/>
                <a:gd name="T5" fmla="*/ 0 h 142"/>
                <a:gd name="T6" fmla="*/ 317 w 317"/>
                <a:gd name="T7" fmla="*/ 62 h 142"/>
                <a:gd name="T8" fmla="*/ 300 w 317"/>
                <a:gd name="T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7" h="142">
                  <a:moveTo>
                    <a:pt x="300" y="142"/>
                  </a:moveTo>
                  <a:lnTo>
                    <a:pt x="0" y="79"/>
                  </a:lnTo>
                  <a:lnTo>
                    <a:pt x="16" y="0"/>
                  </a:lnTo>
                  <a:lnTo>
                    <a:pt x="317" y="62"/>
                  </a:lnTo>
                  <a:lnTo>
                    <a:pt x="300" y="142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1" name="Line 44"/>
            <p:cNvSpPr>
              <a:spLocks noChangeShapeType="1"/>
            </p:cNvSpPr>
            <p:nvPr userDrawn="1"/>
          </p:nvSpPr>
          <p:spPr bwMode="auto">
            <a:xfrm>
              <a:off x="3332163" y="2349500"/>
              <a:ext cx="371475" cy="77788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2" name="Freeform 45"/>
            <p:cNvSpPr/>
            <p:nvPr userDrawn="1"/>
          </p:nvSpPr>
          <p:spPr bwMode="auto">
            <a:xfrm>
              <a:off x="3392488" y="1563688"/>
              <a:ext cx="190500" cy="192088"/>
            </a:xfrm>
            <a:custGeom>
              <a:avLst/>
              <a:gdLst>
                <a:gd name="T0" fmla="*/ 60 w 120"/>
                <a:gd name="T1" fmla="*/ 121 h 121"/>
                <a:gd name="T2" fmla="*/ 0 w 120"/>
                <a:gd name="T3" fmla="*/ 61 h 121"/>
                <a:gd name="T4" fmla="*/ 60 w 120"/>
                <a:gd name="T5" fmla="*/ 0 h 121"/>
                <a:gd name="T6" fmla="*/ 120 w 120"/>
                <a:gd name="T7" fmla="*/ 61 h 121"/>
                <a:gd name="T8" fmla="*/ 60 w 120"/>
                <a:gd name="T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121">
                  <a:moveTo>
                    <a:pt x="60" y="121"/>
                  </a:moveTo>
                  <a:lnTo>
                    <a:pt x="0" y="61"/>
                  </a:lnTo>
                  <a:lnTo>
                    <a:pt x="60" y="0"/>
                  </a:lnTo>
                  <a:lnTo>
                    <a:pt x="120" y="61"/>
                  </a:lnTo>
                  <a:lnTo>
                    <a:pt x="60" y="121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3" name="Freeform 46"/>
            <p:cNvSpPr/>
            <p:nvPr userDrawn="1"/>
          </p:nvSpPr>
          <p:spPr bwMode="auto">
            <a:xfrm>
              <a:off x="5721350" y="1497013"/>
              <a:ext cx="190500" cy="192088"/>
            </a:xfrm>
            <a:custGeom>
              <a:avLst/>
              <a:gdLst>
                <a:gd name="T0" fmla="*/ 59 w 120"/>
                <a:gd name="T1" fmla="*/ 121 h 121"/>
                <a:gd name="T2" fmla="*/ 0 w 120"/>
                <a:gd name="T3" fmla="*/ 60 h 121"/>
                <a:gd name="T4" fmla="*/ 59 w 120"/>
                <a:gd name="T5" fmla="*/ 0 h 121"/>
                <a:gd name="T6" fmla="*/ 120 w 120"/>
                <a:gd name="T7" fmla="*/ 60 h 121"/>
                <a:gd name="T8" fmla="*/ 59 w 120"/>
                <a:gd name="T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121">
                  <a:moveTo>
                    <a:pt x="59" y="121"/>
                  </a:moveTo>
                  <a:lnTo>
                    <a:pt x="0" y="60"/>
                  </a:lnTo>
                  <a:lnTo>
                    <a:pt x="59" y="0"/>
                  </a:lnTo>
                  <a:lnTo>
                    <a:pt x="120" y="60"/>
                  </a:lnTo>
                  <a:lnTo>
                    <a:pt x="59" y="121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4" name="Freeform 47"/>
            <p:cNvSpPr/>
            <p:nvPr userDrawn="1"/>
          </p:nvSpPr>
          <p:spPr bwMode="auto">
            <a:xfrm>
              <a:off x="2513013" y="3328988"/>
              <a:ext cx="684213" cy="350838"/>
            </a:xfrm>
            <a:custGeom>
              <a:avLst/>
              <a:gdLst>
                <a:gd name="T0" fmla="*/ 322 w 431"/>
                <a:gd name="T1" fmla="*/ 104 h 221"/>
                <a:gd name="T2" fmla="*/ 25 w 431"/>
                <a:gd name="T3" fmla="*/ 221 h 221"/>
                <a:gd name="T4" fmla="*/ 0 w 431"/>
                <a:gd name="T5" fmla="*/ 158 h 221"/>
                <a:gd name="T6" fmla="*/ 406 w 431"/>
                <a:gd name="T7" fmla="*/ 0 h 221"/>
                <a:gd name="T8" fmla="*/ 431 w 431"/>
                <a:gd name="T9" fmla="*/ 62 h 221"/>
                <a:gd name="T10" fmla="*/ 381 w 431"/>
                <a:gd name="T11" fmla="*/ 8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1" h="221">
                  <a:moveTo>
                    <a:pt x="322" y="104"/>
                  </a:moveTo>
                  <a:lnTo>
                    <a:pt x="25" y="221"/>
                  </a:lnTo>
                  <a:lnTo>
                    <a:pt x="0" y="158"/>
                  </a:lnTo>
                  <a:lnTo>
                    <a:pt x="406" y="0"/>
                  </a:lnTo>
                  <a:lnTo>
                    <a:pt x="431" y="62"/>
                  </a:lnTo>
                  <a:lnTo>
                    <a:pt x="381" y="81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5" name="Line 48"/>
            <p:cNvSpPr>
              <a:spLocks noChangeShapeType="1"/>
            </p:cNvSpPr>
            <p:nvPr userDrawn="1"/>
          </p:nvSpPr>
          <p:spPr bwMode="auto">
            <a:xfrm>
              <a:off x="2767013" y="3479800"/>
              <a:ext cx="38100" cy="1016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6" name="Freeform 49"/>
            <p:cNvSpPr/>
            <p:nvPr userDrawn="1"/>
          </p:nvSpPr>
          <p:spPr bwMode="auto">
            <a:xfrm>
              <a:off x="2405063" y="3579813"/>
              <a:ext cx="147638" cy="100013"/>
            </a:xfrm>
            <a:custGeom>
              <a:avLst/>
              <a:gdLst>
                <a:gd name="T0" fmla="*/ 68 w 93"/>
                <a:gd name="T1" fmla="*/ 0 h 63"/>
                <a:gd name="T2" fmla="*/ 0 w 93"/>
                <a:gd name="T3" fmla="*/ 63 h 63"/>
                <a:gd name="T4" fmla="*/ 93 w 93"/>
                <a:gd name="T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" h="63">
                  <a:moveTo>
                    <a:pt x="68" y="0"/>
                  </a:moveTo>
                  <a:lnTo>
                    <a:pt x="0" y="63"/>
                  </a:lnTo>
                  <a:lnTo>
                    <a:pt x="93" y="63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7" name="Freeform 50"/>
            <p:cNvSpPr/>
            <p:nvPr userDrawn="1"/>
          </p:nvSpPr>
          <p:spPr bwMode="auto">
            <a:xfrm>
              <a:off x="7794625" y="3016250"/>
              <a:ext cx="333375" cy="422275"/>
            </a:xfrm>
            <a:custGeom>
              <a:avLst/>
              <a:gdLst>
                <a:gd name="T0" fmla="*/ 211 w 229"/>
                <a:gd name="T1" fmla="*/ 156 h 289"/>
                <a:gd name="T2" fmla="*/ 190 w 229"/>
                <a:gd name="T3" fmla="*/ 78 h 289"/>
                <a:gd name="T4" fmla="*/ 78 w 229"/>
                <a:gd name="T5" fmla="*/ 13 h 289"/>
                <a:gd name="T6" fmla="*/ 12 w 229"/>
                <a:gd name="T7" fmla="*/ 125 h 289"/>
                <a:gd name="T8" fmla="*/ 44 w 229"/>
                <a:gd name="T9" fmla="*/ 244 h 289"/>
                <a:gd name="T10" fmla="*/ 109 w 229"/>
                <a:gd name="T11" fmla="*/ 282 h 289"/>
                <a:gd name="T12" fmla="*/ 184 w 229"/>
                <a:gd name="T13" fmla="*/ 262 h 289"/>
                <a:gd name="T14" fmla="*/ 221 w 229"/>
                <a:gd name="T15" fmla="*/ 197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289">
                  <a:moveTo>
                    <a:pt x="211" y="156"/>
                  </a:moveTo>
                  <a:cubicBezTo>
                    <a:pt x="190" y="78"/>
                    <a:pt x="190" y="78"/>
                    <a:pt x="190" y="78"/>
                  </a:cubicBezTo>
                  <a:cubicBezTo>
                    <a:pt x="177" y="29"/>
                    <a:pt x="127" y="0"/>
                    <a:pt x="78" y="13"/>
                  </a:cubicBezTo>
                  <a:cubicBezTo>
                    <a:pt x="29" y="26"/>
                    <a:pt x="0" y="76"/>
                    <a:pt x="12" y="125"/>
                  </a:cubicBezTo>
                  <a:cubicBezTo>
                    <a:pt x="44" y="244"/>
                    <a:pt x="44" y="244"/>
                    <a:pt x="44" y="244"/>
                  </a:cubicBezTo>
                  <a:cubicBezTo>
                    <a:pt x="51" y="272"/>
                    <a:pt x="80" y="289"/>
                    <a:pt x="109" y="282"/>
                  </a:cubicBezTo>
                  <a:cubicBezTo>
                    <a:pt x="184" y="262"/>
                    <a:pt x="184" y="262"/>
                    <a:pt x="184" y="262"/>
                  </a:cubicBezTo>
                  <a:cubicBezTo>
                    <a:pt x="212" y="255"/>
                    <a:pt x="229" y="225"/>
                    <a:pt x="221" y="197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8" name="Freeform 51"/>
            <p:cNvSpPr/>
            <p:nvPr userDrawn="1"/>
          </p:nvSpPr>
          <p:spPr bwMode="auto">
            <a:xfrm>
              <a:off x="7872413" y="2387600"/>
              <a:ext cx="255588" cy="773113"/>
            </a:xfrm>
            <a:custGeom>
              <a:avLst/>
              <a:gdLst>
                <a:gd name="T0" fmla="*/ 47 w 175"/>
                <a:gd name="T1" fmla="*/ 529 h 529"/>
                <a:gd name="T2" fmla="*/ 24 w 175"/>
                <a:gd name="T3" fmla="*/ 443 h 529"/>
                <a:gd name="T4" fmla="*/ 14 w 175"/>
                <a:gd name="T5" fmla="*/ 399 h 529"/>
                <a:gd name="T6" fmla="*/ 84 w 175"/>
                <a:gd name="T7" fmla="*/ 256 h 529"/>
                <a:gd name="T8" fmla="*/ 84 w 175"/>
                <a:gd name="T9" fmla="*/ 256 h 529"/>
                <a:gd name="T10" fmla="*/ 150 w 175"/>
                <a:gd name="T11" fmla="*/ 94 h 529"/>
                <a:gd name="T12" fmla="*/ 112 w 175"/>
                <a:gd name="T13" fmla="*/ 0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5" h="529">
                  <a:moveTo>
                    <a:pt x="47" y="529"/>
                  </a:moveTo>
                  <a:cubicBezTo>
                    <a:pt x="24" y="443"/>
                    <a:pt x="24" y="443"/>
                    <a:pt x="24" y="443"/>
                  </a:cubicBezTo>
                  <a:cubicBezTo>
                    <a:pt x="14" y="399"/>
                    <a:pt x="14" y="399"/>
                    <a:pt x="14" y="399"/>
                  </a:cubicBezTo>
                  <a:cubicBezTo>
                    <a:pt x="0" y="341"/>
                    <a:pt x="29" y="280"/>
                    <a:pt x="84" y="256"/>
                  </a:cubicBezTo>
                  <a:cubicBezTo>
                    <a:pt x="84" y="256"/>
                    <a:pt x="84" y="256"/>
                    <a:pt x="84" y="256"/>
                  </a:cubicBezTo>
                  <a:cubicBezTo>
                    <a:pt x="146" y="228"/>
                    <a:pt x="175" y="157"/>
                    <a:pt x="150" y="94"/>
                  </a:cubicBezTo>
                  <a:cubicBezTo>
                    <a:pt x="112" y="0"/>
                    <a:pt x="112" y="0"/>
                    <a:pt x="112" y="0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9" name="Freeform 52"/>
            <p:cNvSpPr/>
            <p:nvPr userDrawn="1"/>
          </p:nvSpPr>
          <p:spPr bwMode="auto">
            <a:xfrm>
              <a:off x="7824788" y="3176588"/>
              <a:ext cx="258763" cy="66675"/>
            </a:xfrm>
            <a:custGeom>
              <a:avLst/>
              <a:gdLst>
                <a:gd name="T0" fmla="*/ 0 w 177"/>
                <a:gd name="T1" fmla="*/ 46 h 46"/>
                <a:gd name="T2" fmla="*/ 177 w 177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7" h="46">
                  <a:moveTo>
                    <a:pt x="0" y="46"/>
                  </a:moveTo>
                  <a:cubicBezTo>
                    <a:pt x="3" y="46"/>
                    <a:pt x="177" y="0"/>
                    <a:pt x="177" y="0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0" name="Freeform 53"/>
            <p:cNvSpPr/>
            <p:nvPr userDrawn="1"/>
          </p:nvSpPr>
          <p:spPr bwMode="auto">
            <a:xfrm>
              <a:off x="6515100" y="2436813"/>
              <a:ext cx="1176338" cy="563563"/>
            </a:xfrm>
            <a:custGeom>
              <a:avLst/>
              <a:gdLst>
                <a:gd name="T0" fmla="*/ 707 w 741"/>
                <a:gd name="T1" fmla="*/ 332 h 355"/>
                <a:gd name="T2" fmla="*/ 704 w 741"/>
                <a:gd name="T3" fmla="*/ 355 h 355"/>
                <a:gd name="T4" fmla="*/ 0 w 741"/>
                <a:gd name="T5" fmla="*/ 243 h 355"/>
                <a:gd name="T6" fmla="*/ 38 w 741"/>
                <a:gd name="T7" fmla="*/ 0 h 355"/>
                <a:gd name="T8" fmla="*/ 741 w 741"/>
                <a:gd name="T9" fmla="*/ 111 h 355"/>
                <a:gd name="T10" fmla="*/ 715 w 741"/>
                <a:gd name="T11" fmla="*/ 282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1" h="355">
                  <a:moveTo>
                    <a:pt x="707" y="332"/>
                  </a:moveTo>
                  <a:lnTo>
                    <a:pt x="704" y="355"/>
                  </a:lnTo>
                  <a:lnTo>
                    <a:pt x="0" y="243"/>
                  </a:lnTo>
                  <a:lnTo>
                    <a:pt x="38" y="0"/>
                  </a:lnTo>
                  <a:lnTo>
                    <a:pt x="741" y="111"/>
                  </a:lnTo>
                  <a:lnTo>
                    <a:pt x="715" y="282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1" name="Freeform 54"/>
            <p:cNvSpPr/>
            <p:nvPr userDrawn="1"/>
          </p:nvSpPr>
          <p:spPr bwMode="auto">
            <a:xfrm>
              <a:off x="6621463" y="2505075"/>
              <a:ext cx="271463" cy="107950"/>
            </a:xfrm>
            <a:custGeom>
              <a:avLst/>
              <a:gdLst>
                <a:gd name="T0" fmla="*/ 165 w 171"/>
                <a:gd name="T1" fmla="*/ 68 h 68"/>
                <a:gd name="T2" fmla="*/ 0 w 171"/>
                <a:gd name="T3" fmla="*/ 42 h 68"/>
                <a:gd name="T4" fmla="*/ 7 w 171"/>
                <a:gd name="T5" fmla="*/ 0 h 68"/>
                <a:gd name="T6" fmla="*/ 171 w 171"/>
                <a:gd name="T7" fmla="*/ 26 h 68"/>
                <a:gd name="T8" fmla="*/ 165 w 171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68">
                  <a:moveTo>
                    <a:pt x="165" y="68"/>
                  </a:moveTo>
                  <a:lnTo>
                    <a:pt x="0" y="42"/>
                  </a:lnTo>
                  <a:lnTo>
                    <a:pt x="7" y="0"/>
                  </a:lnTo>
                  <a:lnTo>
                    <a:pt x="171" y="26"/>
                  </a:lnTo>
                  <a:lnTo>
                    <a:pt x="165" y="68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2" name="Freeform 55"/>
            <p:cNvSpPr/>
            <p:nvPr userDrawn="1"/>
          </p:nvSpPr>
          <p:spPr bwMode="auto">
            <a:xfrm>
              <a:off x="6940550" y="2554288"/>
              <a:ext cx="82550" cy="82550"/>
            </a:xfrm>
            <a:custGeom>
              <a:avLst/>
              <a:gdLst>
                <a:gd name="T0" fmla="*/ 44 w 52"/>
                <a:gd name="T1" fmla="*/ 52 h 52"/>
                <a:gd name="T2" fmla="*/ 0 w 52"/>
                <a:gd name="T3" fmla="*/ 44 h 52"/>
                <a:gd name="T4" fmla="*/ 8 w 52"/>
                <a:gd name="T5" fmla="*/ 0 h 52"/>
                <a:gd name="T6" fmla="*/ 52 w 52"/>
                <a:gd name="T7" fmla="*/ 8 h 52"/>
                <a:gd name="T8" fmla="*/ 44 w 52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2">
                  <a:moveTo>
                    <a:pt x="44" y="52"/>
                  </a:moveTo>
                  <a:lnTo>
                    <a:pt x="0" y="44"/>
                  </a:lnTo>
                  <a:lnTo>
                    <a:pt x="8" y="0"/>
                  </a:lnTo>
                  <a:lnTo>
                    <a:pt x="52" y="8"/>
                  </a:lnTo>
                  <a:lnTo>
                    <a:pt x="44" y="52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3" name="Freeform 56"/>
            <p:cNvSpPr/>
            <p:nvPr userDrawn="1"/>
          </p:nvSpPr>
          <p:spPr bwMode="auto">
            <a:xfrm>
              <a:off x="7059613" y="2573338"/>
              <a:ext cx="80963" cy="82550"/>
            </a:xfrm>
            <a:custGeom>
              <a:avLst/>
              <a:gdLst>
                <a:gd name="T0" fmla="*/ 44 w 51"/>
                <a:gd name="T1" fmla="*/ 52 h 52"/>
                <a:gd name="T2" fmla="*/ 0 w 51"/>
                <a:gd name="T3" fmla="*/ 44 h 52"/>
                <a:gd name="T4" fmla="*/ 7 w 51"/>
                <a:gd name="T5" fmla="*/ 0 h 52"/>
                <a:gd name="T6" fmla="*/ 51 w 51"/>
                <a:gd name="T7" fmla="*/ 7 h 52"/>
                <a:gd name="T8" fmla="*/ 44 w 51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2">
                  <a:moveTo>
                    <a:pt x="44" y="52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1" y="7"/>
                  </a:lnTo>
                  <a:lnTo>
                    <a:pt x="44" y="52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4" name="Freeform 57"/>
            <p:cNvSpPr/>
            <p:nvPr userDrawn="1"/>
          </p:nvSpPr>
          <p:spPr bwMode="auto">
            <a:xfrm>
              <a:off x="7177088" y="2592388"/>
              <a:ext cx="82550" cy="80963"/>
            </a:xfrm>
            <a:custGeom>
              <a:avLst/>
              <a:gdLst>
                <a:gd name="T0" fmla="*/ 44 w 52"/>
                <a:gd name="T1" fmla="*/ 51 h 51"/>
                <a:gd name="T2" fmla="*/ 0 w 52"/>
                <a:gd name="T3" fmla="*/ 44 h 51"/>
                <a:gd name="T4" fmla="*/ 7 w 52"/>
                <a:gd name="T5" fmla="*/ 0 h 51"/>
                <a:gd name="T6" fmla="*/ 52 w 52"/>
                <a:gd name="T7" fmla="*/ 7 h 51"/>
                <a:gd name="T8" fmla="*/ 44 w 52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1">
                  <a:moveTo>
                    <a:pt x="44" y="51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2" y="7"/>
                  </a:lnTo>
                  <a:lnTo>
                    <a:pt x="44" y="51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5" name="Freeform 58"/>
            <p:cNvSpPr/>
            <p:nvPr userDrawn="1"/>
          </p:nvSpPr>
          <p:spPr bwMode="auto">
            <a:xfrm>
              <a:off x="7296150" y="2611438"/>
              <a:ext cx="80963" cy="80963"/>
            </a:xfrm>
            <a:custGeom>
              <a:avLst/>
              <a:gdLst>
                <a:gd name="T0" fmla="*/ 44 w 51"/>
                <a:gd name="T1" fmla="*/ 51 h 51"/>
                <a:gd name="T2" fmla="*/ 0 w 51"/>
                <a:gd name="T3" fmla="*/ 44 h 51"/>
                <a:gd name="T4" fmla="*/ 7 w 51"/>
                <a:gd name="T5" fmla="*/ 0 h 51"/>
                <a:gd name="T6" fmla="*/ 51 w 51"/>
                <a:gd name="T7" fmla="*/ 6 h 51"/>
                <a:gd name="T8" fmla="*/ 44 w 51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44" y="51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1" y="6"/>
                  </a:lnTo>
                  <a:lnTo>
                    <a:pt x="44" y="51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6" name="Freeform 59"/>
            <p:cNvSpPr/>
            <p:nvPr userDrawn="1"/>
          </p:nvSpPr>
          <p:spPr bwMode="auto">
            <a:xfrm>
              <a:off x="7413625" y="2628900"/>
              <a:ext cx="80963" cy="82550"/>
            </a:xfrm>
            <a:custGeom>
              <a:avLst/>
              <a:gdLst>
                <a:gd name="T0" fmla="*/ 45 w 51"/>
                <a:gd name="T1" fmla="*/ 52 h 52"/>
                <a:gd name="T2" fmla="*/ 0 w 51"/>
                <a:gd name="T3" fmla="*/ 44 h 52"/>
                <a:gd name="T4" fmla="*/ 7 w 51"/>
                <a:gd name="T5" fmla="*/ 0 h 52"/>
                <a:gd name="T6" fmla="*/ 51 w 51"/>
                <a:gd name="T7" fmla="*/ 7 h 52"/>
                <a:gd name="T8" fmla="*/ 45 w 51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2">
                  <a:moveTo>
                    <a:pt x="45" y="52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1" y="7"/>
                  </a:lnTo>
                  <a:lnTo>
                    <a:pt x="45" y="52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7" name="Freeform 60"/>
            <p:cNvSpPr/>
            <p:nvPr userDrawn="1"/>
          </p:nvSpPr>
          <p:spPr bwMode="auto">
            <a:xfrm>
              <a:off x="6919913" y="2682875"/>
              <a:ext cx="82550" cy="80963"/>
            </a:xfrm>
            <a:custGeom>
              <a:avLst/>
              <a:gdLst>
                <a:gd name="T0" fmla="*/ 45 w 52"/>
                <a:gd name="T1" fmla="*/ 51 h 51"/>
                <a:gd name="T2" fmla="*/ 0 w 52"/>
                <a:gd name="T3" fmla="*/ 44 h 51"/>
                <a:gd name="T4" fmla="*/ 8 w 52"/>
                <a:gd name="T5" fmla="*/ 0 h 51"/>
                <a:gd name="T6" fmla="*/ 52 w 52"/>
                <a:gd name="T7" fmla="*/ 7 h 51"/>
                <a:gd name="T8" fmla="*/ 45 w 52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1">
                  <a:moveTo>
                    <a:pt x="45" y="51"/>
                  </a:moveTo>
                  <a:lnTo>
                    <a:pt x="0" y="44"/>
                  </a:lnTo>
                  <a:lnTo>
                    <a:pt x="8" y="0"/>
                  </a:lnTo>
                  <a:lnTo>
                    <a:pt x="52" y="7"/>
                  </a:lnTo>
                  <a:lnTo>
                    <a:pt x="45" y="51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8" name="Freeform 61"/>
            <p:cNvSpPr/>
            <p:nvPr userDrawn="1"/>
          </p:nvSpPr>
          <p:spPr bwMode="auto">
            <a:xfrm>
              <a:off x="7038975" y="2700338"/>
              <a:ext cx="80963" cy="82550"/>
            </a:xfrm>
            <a:custGeom>
              <a:avLst/>
              <a:gdLst>
                <a:gd name="T0" fmla="*/ 44 w 51"/>
                <a:gd name="T1" fmla="*/ 52 h 52"/>
                <a:gd name="T2" fmla="*/ 0 w 51"/>
                <a:gd name="T3" fmla="*/ 44 h 52"/>
                <a:gd name="T4" fmla="*/ 7 w 51"/>
                <a:gd name="T5" fmla="*/ 0 h 52"/>
                <a:gd name="T6" fmla="*/ 51 w 51"/>
                <a:gd name="T7" fmla="*/ 7 h 52"/>
                <a:gd name="T8" fmla="*/ 44 w 51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2">
                  <a:moveTo>
                    <a:pt x="44" y="52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1" y="7"/>
                  </a:lnTo>
                  <a:lnTo>
                    <a:pt x="44" y="52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9" name="Freeform 62"/>
            <p:cNvSpPr/>
            <p:nvPr userDrawn="1"/>
          </p:nvSpPr>
          <p:spPr bwMode="auto">
            <a:xfrm>
              <a:off x="6637338" y="2638425"/>
              <a:ext cx="80963" cy="79375"/>
            </a:xfrm>
            <a:custGeom>
              <a:avLst/>
              <a:gdLst>
                <a:gd name="T0" fmla="*/ 44 w 51"/>
                <a:gd name="T1" fmla="*/ 50 h 50"/>
                <a:gd name="T2" fmla="*/ 0 w 51"/>
                <a:gd name="T3" fmla="*/ 44 h 50"/>
                <a:gd name="T4" fmla="*/ 7 w 51"/>
                <a:gd name="T5" fmla="*/ 0 h 50"/>
                <a:gd name="T6" fmla="*/ 51 w 51"/>
                <a:gd name="T7" fmla="*/ 6 h 50"/>
                <a:gd name="T8" fmla="*/ 44 w 51"/>
                <a:gd name="T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0">
                  <a:moveTo>
                    <a:pt x="44" y="50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1" y="6"/>
                  </a:lnTo>
                  <a:lnTo>
                    <a:pt x="44" y="50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0" name="Freeform 63"/>
            <p:cNvSpPr/>
            <p:nvPr userDrawn="1"/>
          </p:nvSpPr>
          <p:spPr bwMode="auto">
            <a:xfrm>
              <a:off x="6756400" y="2657475"/>
              <a:ext cx="79375" cy="79375"/>
            </a:xfrm>
            <a:custGeom>
              <a:avLst/>
              <a:gdLst>
                <a:gd name="T0" fmla="*/ 44 w 50"/>
                <a:gd name="T1" fmla="*/ 50 h 50"/>
                <a:gd name="T2" fmla="*/ 0 w 50"/>
                <a:gd name="T3" fmla="*/ 44 h 50"/>
                <a:gd name="T4" fmla="*/ 6 w 50"/>
                <a:gd name="T5" fmla="*/ 0 h 50"/>
                <a:gd name="T6" fmla="*/ 50 w 50"/>
                <a:gd name="T7" fmla="*/ 6 h 50"/>
                <a:gd name="T8" fmla="*/ 44 w 50"/>
                <a:gd name="T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44" y="50"/>
                  </a:moveTo>
                  <a:lnTo>
                    <a:pt x="0" y="44"/>
                  </a:lnTo>
                  <a:lnTo>
                    <a:pt x="6" y="0"/>
                  </a:lnTo>
                  <a:lnTo>
                    <a:pt x="50" y="6"/>
                  </a:lnTo>
                  <a:lnTo>
                    <a:pt x="44" y="50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1" name="Freeform 64"/>
            <p:cNvSpPr/>
            <p:nvPr userDrawn="1"/>
          </p:nvSpPr>
          <p:spPr bwMode="auto">
            <a:xfrm>
              <a:off x="7156450" y="2719388"/>
              <a:ext cx="82550" cy="82550"/>
            </a:xfrm>
            <a:custGeom>
              <a:avLst/>
              <a:gdLst>
                <a:gd name="T0" fmla="*/ 44 w 52"/>
                <a:gd name="T1" fmla="*/ 52 h 52"/>
                <a:gd name="T2" fmla="*/ 0 w 52"/>
                <a:gd name="T3" fmla="*/ 44 h 52"/>
                <a:gd name="T4" fmla="*/ 8 w 52"/>
                <a:gd name="T5" fmla="*/ 0 h 52"/>
                <a:gd name="T6" fmla="*/ 52 w 52"/>
                <a:gd name="T7" fmla="*/ 7 h 52"/>
                <a:gd name="T8" fmla="*/ 44 w 52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2">
                  <a:moveTo>
                    <a:pt x="44" y="52"/>
                  </a:moveTo>
                  <a:lnTo>
                    <a:pt x="0" y="44"/>
                  </a:lnTo>
                  <a:lnTo>
                    <a:pt x="8" y="0"/>
                  </a:lnTo>
                  <a:lnTo>
                    <a:pt x="52" y="7"/>
                  </a:lnTo>
                  <a:lnTo>
                    <a:pt x="44" y="52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2" name="Freeform 65"/>
            <p:cNvSpPr/>
            <p:nvPr userDrawn="1"/>
          </p:nvSpPr>
          <p:spPr bwMode="auto">
            <a:xfrm>
              <a:off x="7277100" y="2738438"/>
              <a:ext cx="79375" cy="82550"/>
            </a:xfrm>
            <a:custGeom>
              <a:avLst/>
              <a:gdLst>
                <a:gd name="T0" fmla="*/ 44 w 50"/>
                <a:gd name="T1" fmla="*/ 52 h 52"/>
                <a:gd name="T2" fmla="*/ 0 w 50"/>
                <a:gd name="T3" fmla="*/ 44 h 52"/>
                <a:gd name="T4" fmla="*/ 6 w 50"/>
                <a:gd name="T5" fmla="*/ 0 h 52"/>
                <a:gd name="T6" fmla="*/ 50 w 50"/>
                <a:gd name="T7" fmla="*/ 7 h 52"/>
                <a:gd name="T8" fmla="*/ 44 w 50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2">
                  <a:moveTo>
                    <a:pt x="44" y="52"/>
                  </a:moveTo>
                  <a:lnTo>
                    <a:pt x="0" y="44"/>
                  </a:lnTo>
                  <a:lnTo>
                    <a:pt x="6" y="0"/>
                  </a:lnTo>
                  <a:lnTo>
                    <a:pt x="50" y="7"/>
                  </a:lnTo>
                  <a:lnTo>
                    <a:pt x="44" y="52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3" name="Freeform 66"/>
            <p:cNvSpPr/>
            <p:nvPr userDrawn="1"/>
          </p:nvSpPr>
          <p:spPr bwMode="auto">
            <a:xfrm>
              <a:off x="7394575" y="2757488"/>
              <a:ext cx="80963" cy="80963"/>
            </a:xfrm>
            <a:custGeom>
              <a:avLst/>
              <a:gdLst>
                <a:gd name="T0" fmla="*/ 44 w 51"/>
                <a:gd name="T1" fmla="*/ 51 h 51"/>
                <a:gd name="T2" fmla="*/ 0 w 51"/>
                <a:gd name="T3" fmla="*/ 44 h 51"/>
                <a:gd name="T4" fmla="*/ 6 w 51"/>
                <a:gd name="T5" fmla="*/ 0 h 51"/>
                <a:gd name="T6" fmla="*/ 51 w 51"/>
                <a:gd name="T7" fmla="*/ 6 h 51"/>
                <a:gd name="T8" fmla="*/ 44 w 51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44" y="51"/>
                  </a:moveTo>
                  <a:lnTo>
                    <a:pt x="0" y="44"/>
                  </a:lnTo>
                  <a:lnTo>
                    <a:pt x="6" y="0"/>
                  </a:lnTo>
                  <a:lnTo>
                    <a:pt x="51" y="6"/>
                  </a:lnTo>
                  <a:lnTo>
                    <a:pt x="44" y="51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4" name="Freeform 67"/>
            <p:cNvSpPr/>
            <p:nvPr userDrawn="1"/>
          </p:nvSpPr>
          <p:spPr bwMode="auto">
            <a:xfrm>
              <a:off x="7096125" y="2343150"/>
              <a:ext cx="512763" cy="176213"/>
            </a:xfrm>
            <a:custGeom>
              <a:avLst/>
              <a:gdLst>
                <a:gd name="T0" fmla="*/ 0 w 352"/>
                <a:gd name="T1" fmla="*/ 121 h 121"/>
                <a:gd name="T2" fmla="*/ 0 w 352"/>
                <a:gd name="T3" fmla="*/ 121 h 121"/>
                <a:gd name="T4" fmla="*/ 152 w 352"/>
                <a:gd name="T5" fmla="*/ 57 h 121"/>
                <a:gd name="T6" fmla="*/ 193 w 352"/>
                <a:gd name="T7" fmla="*/ 65 h 121"/>
                <a:gd name="T8" fmla="*/ 326 w 352"/>
                <a:gd name="T9" fmla="*/ 26 h 121"/>
                <a:gd name="T10" fmla="*/ 352 w 352"/>
                <a:gd name="T11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2" h="121">
                  <a:moveTo>
                    <a:pt x="0" y="121"/>
                  </a:moveTo>
                  <a:cubicBezTo>
                    <a:pt x="0" y="121"/>
                    <a:pt x="0" y="121"/>
                    <a:pt x="0" y="121"/>
                  </a:cubicBezTo>
                  <a:cubicBezTo>
                    <a:pt x="33" y="70"/>
                    <a:pt x="93" y="44"/>
                    <a:pt x="152" y="57"/>
                  </a:cubicBezTo>
                  <a:cubicBezTo>
                    <a:pt x="193" y="65"/>
                    <a:pt x="193" y="65"/>
                    <a:pt x="193" y="65"/>
                  </a:cubicBezTo>
                  <a:cubicBezTo>
                    <a:pt x="241" y="76"/>
                    <a:pt x="291" y="61"/>
                    <a:pt x="326" y="26"/>
                  </a:cubicBezTo>
                  <a:cubicBezTo>
                    <a:pt x="352" y="0"/>
                    <a:pt x="352" y="0"/>
                    <a:pt x="352" y="0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5" name="Freeform 68"/>
            <p:cNvSpPr/>
            <p:nvPr userDrawn="1"/>
          </p:nvSpPr>
          <p:spPr bwMode="auto">
            <a:xfrm>
              <a:off x="8515350" y="2657475"/>
              <a:ext cx="825500" cy="1006475"/>
            </a:xfrm>
            <a:custGeom>
              <a:avLst/>
              <a:gdLst>
                <a:gd name="T0" fmla="*/ 174 w 520"/>
                <a:gd name="T1" fmla="*/ 59 h 634"/>
                <a:gd name="T2" fmla="*/ 54 w 520"/>
                <a:gd name="T3" fmla="*/ 113 h 634"/>
                <a:gd name="T4" fmla="*/ 0 w 520"/>
                <a:gd name="T5" fmla="*/ 253 h 634"/>
                <a:gd name="T6" fmla="*/ 168 w 520"/>
                <a:gd name="T7" fmla="*/ 634 h 634"/>
                <a:gd name="T8" fmla="*/ 520 w 520"/>
                <a:gd name="T9" fmla="*/ 479 h 634"/>
                <a:gd name="T10" fmla="*/ 309 w 520"/>
                <a:gd name="T11" fmla="*/ 0 h 634"/>
                <a:gd name="T12" fmla="*/ 241 w 520"/>
                <a:gd name="T13" fmla="*/ 30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0" h="634">
                  <a:moveTo>
                    <a:pt x="174" y="59"/>
                  </a:moveTo>
                  <a:lnTo>
                    <a:pt x="54" y="113"/>
                  </a:lnTo>
                  <a:lnTo>
                    <a:pt x="0" y="253"/>
                  </a:lnTo>
                  <a:lnTo>
                    <a:pt x="168" y="634"/>
                  </a:lnTo>
                  <a:lnTo>
                    <a:pt x="520" y="479"/>
                  </a:lnTo>
                  <a:lnTo>
                    <a:pt x="309" y="0"/>
                  </a:lnTo>
                  <a:lnTo>
                    <a:pt x="241" y="30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6" name="Freeform 69"/>
            <p:cNvSpPr/>
            <p:nvPr userDrawn="1"/>
          </p:nvSpPr>
          <p:spPr bwMode="auto">
            <a:xfrm>
              <a:off x="8513763" y="2836863"/>
              <a:ext cx="155575" cy="222250"/>
            </a:xfrm>
            <a:custGeom>
              <a:avLst/>
              <a:gdLst>
                <a:gd name="T0" fmla="*/ 55 w 98"/>
                <a:gd name="T1" fmla="*/ 0 h 140"/>
                <a:gd name="T2" fmla="*/ 0 w 98"/>
                <a:gd name="T3" fmla="*/ 140 h 140"/>
                <a:gd name="T4" fmla="*/ 98 w 98"/>
                <a:gd name="T5" fmla="*/ 97 h 140"/>
                <a:gd name="T6" fmla="*/ 55 w 98"/>
                <a:gd name="T7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140">
                  <a:moveTo>
                    <a:pt x="55" y="0"/>
                  </a:moveTo>
                  <a:lnTo>
                    <a:pt x="0" y="140"/>
                  </a:lnTo>
                  <a:lnTo>
                    <a:pt x="98" y="97"/>
                  </a:lnTo>
                  <a:lnTo>
                    <a:pt x="55" y="0"/>
                  </a:lnTo>
                  <a:close/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7" name="Line 70"/>
            <p:cNvSpPr>
              <a:spLocks noChangeShapeType="1"/>
            </p:cNvSpPr>
            <p:nvPr userDrawn="1"/>
          </p:nvSpPr>
          <p:spPr bwMode="auto">
            <a:xfrm flipV="1">
              <a:off x="8669338" y="2978150"/>
              <a:ext cx="365125" cy="1619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8" name="Line 71"/>
            <p:cNvSpPr>
              <a:spLocks noChangeShapeType="1"/>
            </p:cNvSpPr>
            <p:nvPr userDrawn="1"/>
          </p:nvSpPr>
          <p:spPr bwMode="auto">
            <a:xfrm flipV="1">
              <a:off x="8737600" y="3132138"/>
              <a:ext cx="366713" cy="1619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9" name="Line 72"/>
            <p:cNvSpPr>
              <a:spLocks noChangeShapeType="1"/>
            </p:cNvSpPr>
            <p:nvPr userDrawn="1"/>
          </p:nvSpPr>
          <p:spPr bwMode="auto">
            <a:xfrm flipV="1">
              <a:off x="8805863" y="3289300"/>
              <a:ext cx="366713" cy="1619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0" name="Oval 73"/>
            <p:cNvSpPr>
              <a:spLocks noChangeArrowheads="1"/>
            </p:cNvSpPr>
            <p:nvPr userDrawn="1"/>
          </p:nvSpPr>
          <p:spPr bwMode="auto">
            <a:xfrm>
              <a:off x="8836025" y="2178050"/>
              <a:ext cx="242888" cy="242888"/>
            </a:xfrm>
            <a:prstGeom prst="ellipse">
              <a:avLst/>
            </a:pr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1" name="Freeform 74"/>
            <p:cNvSpPr/>
            <p:nvPr userDrawn="1"/>
          </p:nvSpPr>
          <p:spPr bwMode="auto">
            <a:xfrm>
              <a:off x="8958263" y="2233613"/>
              <a:ext cx="65088" cy="65088"/>
            </a:xfrm>
            <a:custGeom>
              <a:avLst/>
              <a:gdLst>
                <a:gd name="T0" fmla="*/ 0 w 45"/>
                <a:gd name="T1" fmla="*/ 0 h 45"/>
                <a:gd name="T2" fmla="*/ 45 w 45"/>
                <a:gd name="T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5" h="45">
                  <a:moveTo>
                    <a:pt x="0" y="0"/>
                  </a:moveTo>
                  <a:cubicBezTo>
                    <a:pt x="25" y="0"/>
                    <a:pt x="45" y="20"/>
                    <a:pt x="45" y="45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2" name="Line 75"/>
            <p:cNvSpPr>
              <a:spLocks noChangeShapeType="1"/>
            </p:cNvSpPr>
            <p:nvPr userDrawn="1"/>
          </p:nvSpPr>
          <p:spPr bwMode="auto">
            <a:xfrm>
              <a:off x="9078913" y="2298700"/>
              <a:ext cx="92075" cy="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3" name="Line 76"/>
            <p:cNvSpPr>
              <a:spLocks noChangeShapeType="1"/>
            </p:cNvSpPr>
            <p:nvPr userDrawn="1"/>
          </p:nvSpPr>
          <p:spPr bwMode="auto">
            <a:xfrm flipH="1">
              <a:off x="6546850" y="2090738"/>
              <a:ext cx="73025" cy="730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4" name="Line 77"/>
            <p:cNvSpPr>
              <a:spLocks noChangeShapeType="1"/>
            </p:cNvSpPr>
            <p:nvPr userDrawn="1"/>
          </p:nvSpPr>
          <p:spPr bwMode="auto">
            <a:xfrm flipH="1">
              <a:off x="6375400" y="2262188"/>
              <a:ext cx="73025" cy="730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5" name="Line 78"/>
            <p:cNvSpPr>
              <a:spLocks noChangeShapeType="1"/>
            </p:cNvSpPr>
            <p:nvPr userDrawn="1"/>
          </p:nvSpPr>
          <p:spPr bwMode="auto">
            <a:xfrm>
              <a:off x="6375400" y="2090738"/>
              <a:ext cx="73025" cy="730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6" name="Line 79"/>
            <p:cNvSpPr>
              <a:spLocks noChangeShapeType="1"/>
            </p:cNvSpPr>
            <p:nvPr userDrawn="1"/>
          </p:nvSpPr>
          <p:spPr bwMode="auto">
            <a:xfrm>
              <a:off x="6546850" y="2262188"/>
              <a:ext cx="73025" cy="730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7" name="Line 80"/>
            <p:cNvSpPr>
              <a:spLocks noChangeShapeType="1"/>
            </p:cNvSpPr>
            <p:nvPr userDrawn="1"/>
          </p:nvSpPr>
          <p:spPr bwMode="auto">
            <a:xfrm flipH="1">
              <a:off x="8551863" y="1925638"/>
              <a:ext cx="73025" cy="730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8" name="Line 81"/>
            <p:cNvSpPr>
              <a:spLocks noChangeShapeType="1"/>
            </p:cNvSpPr>
            <p:nvPr userDrawn="1"/>
          </p:nvSpPr>
          <p:spPr bwMode="auto">
            <a:xfrm flipH="1">
              <a:off x="8380413" y="2097088"/>
              <a:ext cx="73025" cy="730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9" name="Line 82"/>
            <p:cNvSpPr>
              <a:spLocks noChangeShapeType="1"/>
            </p:cNvSpPr>
            <p:nvPr userDrawn="1"/>
          </p:nvSpPr>
          <p:spPr bwMode="auto">
            <a:xfrm>
              <a:off x="8380413" y="1925638"/>
              <a:ext cx="73025" cy="730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0" name="Line 83"/>
            <p:cNvSpPr>
              <a:spLocks noChangeShapeType="1"/>
            </p:cNvSpPr>
            <p:nvPr userDrawn="1"/>
          </p:nvSpPr>
          <p:spPr bwMode="auto">
            <a:xfrm>
              <a:off x="8551863" y="2097088"/>
              <a:ext cx="73025" cy="73025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1" name="Oval 84"/>
            <p:cNvSpPr>
              <a:spLocks noChangeArrowheads="1"/>
            </p:cNvSpPr>
            <p:nvPr userDrawn="1"/>
          </p:nvSpPr>
          <p:spPr bwMode="auto">
            <a:xfrm>
              <a:off x="7175500" y="3248025"/>
              <a:ext cx="146050" cy="146050"/>
            </a:xfrm>
            <a:prstGeom prst="ellips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2" name="Freeform 85"/>
            <p:cNvSpPr/>
            <p:nvPr userDrawn="1"/>
          </p:nvSpPr>
          <p:spPr bwMode="auto">
            <a:xfrm>
              <a:off x="6988175" y="2027238"/>
              <a:ext cx="182563" cy="182563"/>
            </a:xfrm>
            <a:custGeom>
              <a:avLst/>
              <a:gdLst>
                <a:gd name="T0" fmla="*/ 58 w 115"/>
                <a:gd name="T1" fmla="*/ 115 h 115"/>
                <a:gd name="T2" fmla="*/ 0 w 115"/>
                <a:gd name="T3" fmla="*/ 58 h 115"/>
                <a:gd name="T4" fmla="*/ 58 w 115"/>
                <a:gd name="T5" fmla="*/ 0 h 115"/>
                <a:gd name="T6" fmla="*/ 115 w 115"/>
                <a:gd name="T7" fmla="*/ 58 h 115"/>
                <a:gd name="T8" fmla="*/ 58 w 115"/>
                <a:gd name="T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15">
                  <a:moveTo>
                    <a:pt x="58" y="115"/>
                  </a:moveTo>
                  <a:lnTo>
                    <a:pt x="0" y="58"/>
                  </a:lnTo>
                  <a:lnTo>
                    <a:pt x="58" y="0"/>
                  </a:lnTo>
                  <a:lnTo>
                    <a:pt x="115" y="58"/>
                  </a:lnTo>
                  <a:lnTo>
                    <a:pt x="58" y="115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3" name="Freeform 86"/>
            <p:cNvSpPr/>
            <p:nvPr userDrawn="1"/>
          </p:nvSpPr>
          <p:spPr bwMode="auto">
            <a:xfrm>
              <a:off x="8355013" y="2354263"/>
              <a:ext cx="258763" cy="296863"/>
            </a:xfrm>
            <a:custGeom>
              <a:avLst/>
              <a:gdLst>
                <a:gd name="T0" fmla="*/ 100 w 177"/>
                <a:gd name="T1" fmla="*/ 0 h 203"/>
                <a:gd name="T2" fmla="*/ 15 w 177"/>
                <a:gd name="T3" fmla="*/ 124 h 203"/>
                <a:gd name="T4" fmla="*/ 27 w 177"/>
                <a:gd name="T5" fmla="*/ 189 h 203"/>
                <a:gd name="T6" fmla="*/ 91 w 177"/>
                <a:gd name="T7" fmla="*/ 177 h 203"/>
                <a:gd name="T8" fmla="*/ 177 w 177"/>
                <a:gd name="T9" fmla="*/ 53 h 203"/>
                <a:gd name="T10" fmla="*/ 100 w 177"/>
                <a:gd name="T1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" h="203">
                  <a:moveTo>
                    <a:pt x="100" y="0"/>
                  </a:moveTo>
                  <a:cubicBezTo>
                    <a:pt x="15" y="124"/>
                    <a:pt x="15" y="124"/>
                    <a:pt x="15" y="124"/>
                  </a:cubicBezTo>
                  <a:cubicBezTo>
                    <a:pt x="0" y="145"/>
                    <a:pt x="6" y="174"/>
                    <a:pt x="27" y="189"/>
                  </a:cubicBezTo>
                  <a:cubicBezTo>
                    <a:pt x="48" y="203"/>
                    <a:pt x="77" y="198"/>
                    <a:pt x="91" y="177"/>
                  </a:cubicBezTo>
                  <a:cubicBezTo>
                    <a:pt x="177" y="53"/>
                    <a:pt x="177" y="53"/>
                    <a:pt x="177" y="53"/>
                  </a:cubicBezTo>
                  <a:lnTo>
                    <a:pt x="100" y="0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4" name="Line 87"/>
            <p:cNvSpPr>
              <a:spLocks noChangeShapeType="1"/>
            </p:cNvSpPr>
            <p:nvPr userDrawn="1"/>
          </p:nvSpPr>
          <p:spPr bwMode="auto">
            <a:xfrm>
              <a:off x="8391525" y="2514600"/>
              <a:ext cx="111125" cy="77788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5" name="Freeform 88"/>
            <p:cNvSpPr/>
            <p:nvPr userDrawn="1"/>
          </p:nvSpPr>
          <p:spPr bwMode="auto">
            <a:xfrm>
              <a:off x="8516938" y="2305050"/>
              <a:ext cx="122238" cy="115888"/>
            </a:xfrm>
            <a:custGeom>
              <a:avLst/>
              <a:gdLst>
                <a:gd name="T0" fmla="*/ 77 w 77"/>
                <a:gd name="T1" fmla="*/ 35 h 73"/>
                <a:gd name="T2" fmla="*/ 27 w 77"/>
                <a:gd name="T3" fmla="*/ 0 h 73"/>
                <a:gd name="T4" fmla="*/ 0 w 77"/>
                <a:gd name="T5" fmla="*/ 38 h 73"/>
                <a:gd name="T6" fmla="*/ 51 w 77"/>
                <a:gd name="T7" fmla="*/ 73 h 73"/>
                <a:gd name="T8" fmla="*/ 77 w 77"/>
                <a:gd name="T9" fmla="*/ 3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3">
                  <a:moveTo>
                    <a:pt x="77" y="35"/>
                  </a:moveTo>
                  <a:lnTo>
                    <a:pt x="27" y="0"/>
                  </a:lnTo>
                  <a:lnTo>
                    <a:pt x="0" y="38"/>
                  </a:lnTo>
                  <a:lnTo>
                    <a:pt x="51" y="73"/>
                  </a:lnTo>
                  <a:lnTo>
                    <a:pt x="77" y="35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6" name="Freeform 89"/>
            <p:cNvSpPr/>
            <p:nvPr userDrawn="1"/>
          </p:nvSpPr>
          <p:spPr bwMode="auto">
            <a:xfrm>
              <a:off x="7886700" y="1612900"/>
              <a:ext cx="290513" cy="280988"/>
            </a:xfrm>
            <a:custGeom>
              <a:avLst/>
              <a:gdLst>
                <a:gd name="T0" fmla="*/ 134 w 200"/>
                <a:gd name="T1" fmla="*/ 192 h 192"/>
                <a:gd name="T2" fmla="*/ 0 w 200"/>
                <a:gd name="T3" fmla="*/ 79 h 192"/>
                <a:gd name="T4" fmla="*/ 55 w 200"/>
                <a:gd name="T5" fmla="*/ 14 h 192"/>
                <a:gd name="T6" fmla="*/ 97 w 200"/>
                <a:gd name="T7" fmla="*/ 10 h 192"/>
                <a:gd name="T8" fmla="*/ 186 w 200"/>
                <a:gd name="T9" fmla="*/ 84 h 192"/>
                <a:gd name="T10" fmla="*/ 189 w 200"/>
                <a:gd name="T11" fmla="*/ 126 h 192"/>
                <a:gd name="T12" fmla="*/ 134 w 200"/>
                <a:gd name="T13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192">
                  <a:moveTo>
                    <a:pt x="134" y="192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65" y="1"/>
                    <a:pt x="84" y="0"/>
                    <a:pt x="97" y="10"/>
                  </a:cubicBezTo>
                  <a:cubicBezTo>
                    <a:pt x="186" y="84"/>
                    <a:pt x="186" y="84"/>
                    <a:pt x="186" y="84"/>
                  </a:cubicBezTo>
                  <a:cubicBezTo>
                    <a:pt x="198" y="95"/>
                    <a:pt x="200" y="114"/>
                    <a:pt x="189" y="126"/>
                  </a:cubicBezTo>
                  <a:lnTo>
                    <a:pt x="134" y="192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7" name="Line 90"/>
            <p:cNvSpPr>
              <a:spLocks noChangeShapeType="1"/>
            </p:cNvSpPr>
            <p:nvPr userDrawn="1"/>
          </p:nvSpPr>
          <p:spPr bwMode="auto">
            <a:xfrm>
              <a:off x="7854950" y="1765300"/>
              <a:ext cx="195263" cy="1651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8" name="Line 91"/>
            <p:cNvSpPr>
              <a:spLocks noChangeShapeType="1"/>
            </p:cNvSpPr>
            <p:nvPr userDrawn="1"/>
          </p:nvSpPr>
          <p:spPr bwMode="auto">
            <a:xfrm>
              <a:off x="7797800" y="1835150"/>
              <a:ext cx="195263" cy="1651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9" name="Line 92"/>
            <p:cNvSpPr>
              <a:spLocks noChangeShapeType="1"/>
            </p:cNvSpPr>
            <p:nvPr userDrawn="1"/>
          </p:nvSpPr>
          <p:spPr bwMode="auto">
            <a:xfrm>
              <a:off x="7739063" y="1905000"/>
              <a:ext cx="195263" cy="16510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0" name="Freeform 93"/>
            <p:cNvSpPr/>
            <p:nvPr userDrawn="1"/>
          </p:nvSpPr>
          <p:spPr bwMode="auto">
            <a:xfrm>
              <a:off x="7500938" y="1639888"/>
              <a:ext cx="685800" cy="642938"/>
            </a:xfrm>
            <a:custGeom>
              <a:avLst/>
              <a:gdLst>
                <a:gd name="T0" fmla="*/ 387 w 432"/>
                <a:gd name="T1" fmla="*/ 135 h 405"/>
                <a:gd name="T2" fmla="*/ 384 w 432"/>
                <a:gd name="T3" fmla="*/ 138 h 405"/>
                <a:gd name="T4" fmla="*/ 366 w 432"/>
                <a:gd name="T5" fmla="*/ 160 h 405"/>
                <a:gd name="T6" fmla="*/ 243 w 432"/>
                <a:gd name="T7" fmla="*/ 56 h 405"/>
                <a:gd name="T8" fmla="*/ 261 w 432"/>
                <a:gd name="T9" fmla="*/ 35 h 405"/>
                <a:gd name="T10" fmla="*/ 264 w 432"/>
                <a:gd name="T11" fmla="*/ 31 h 405"/>
                <a:gd name="T12" fmla="*/ 227 w 432"/>
                <a:gd name="T13" fmla="*/ 0 h 405"/>
                <a:gd name="T14" fmla="*/ 0 w 432"/>
                <a:gd name="T15" fmla="*/ 271 h 405"/>
                <a:gd name="T16" fmla="*/ 160 w 432"/>
                <a:gd name="T17" fmla="*/ 405 h 405"/>
                <a:gd name="T18" fmla="*/ 243 w 432"/>
                <a:gd name="T19" fmla="*/ 398 h 405"/>
                <a:gd name="T20" fmla="*/ 432 w 432"/>
                <a:gd name="T21" fmla="*/ 172 h 405"/>
                <a:gd name="T22" fmla="*/ 387 w 432"/>
                <a:gd name="T23" fmla="*/ 13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2" h="405">
                  <a:moveTo>
                    <a:pt x="387" y="135"/>
                  </a:moveTo>
                  <a:lnTo>
                    <a:pt x="384" y="138"/>
                  </a:lnTo>
                  <a:lnTo>
                    <a:pt x="366" y="160"/>
                  </a:lnTo>
                  <a:lnTo>
                    <a:pt x="243" y="56"/>
                  </a:lnTo>
                  <a:lnTo>
                    <a:pt x="261" y="35"/>
                  </a:lnTo>
                  <a:lnTo>
                    <a:pt x="264" y="31"/>
                  </a:lnTo>
                  <a:lnTo>
                    <a:pt x="227" y="0"/>
                  </a:lnTo>
                  <a:lnTo>
                    <a:pt x="0" y="271"/>
                  </a:lnTo>
                  <a:lnTo>
                    <a:pt x="160" y="405"/>
                  </a:lnTo>
                  <a:lnTo>
                    <a:pt x="243" y="398"/>
                  </a:lnTo>
                  <a:lnTo>
                    <a:pt x="432" y="172"/>
                  </a:lnTo>
                  <a:lnTo>
                    <a:pt x="387" y="135"/>
                  </a:lnTo>
                  <a:close/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1" name="Freeform 94"/>
            <p:cNvSpPr/>
            <p:nvPr userDrawn="1"/>
          </p:nvSpPr>
          <p:spPr bwMode="auto">
            <a:xfrm>
              <a:off x="7754938" y="2211388"/>
              <a:ext cx="131763" cy="71438"/>
            </a:xfrm>
            <a:custGeom>
              <a:avLst/>
              <a:gdLst>
                <a:gd name="T0" fmla="*/ 0 w 83"/>
                <a:gd name="T1" fmla="*/ 45 h 45"/>
                <a:gd name="T2" fmla="*/ 38 w 83"/>
                <a:gd name="T3" fmla="*/ 0 h 45"/>
                <a:gd name="T4" fmla="*/ 83 w 83"/>
                <a:gd name="T5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3" h="45">
                  <a:moveTo>
                    <a:pt x="0" y="45"/>
                  </a:moveTo>
                  <a:lnTo>
                    <a:pt x="38" y="0"/>
                  </a:lnTo>
                  <a:lnTo>
                    <a:pt x="83" y="38"/>
                  </a:ln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2" name="Line 95"/>
            <p:cNvSpPr>
              <a:spLocks noChangeShapeType="1"/>
            </p:cNvSpPr>
            <p:nvPr userDrawn="1"/>
          </p:nvSpPr>
          <p:spPr bwMode="auto">
            <a:xfrm>
              <a:off x="7920038" y="1689100"/>
              <a:ext cx="128588" cy="107950"/>
            </a:xfrm>
            <a:prstGeom prst="line">
              <a:avLst/>
            </a:prstGeom>
            <a:noFill/>
            <a:ln w="285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59004" y="258233"/>
            <a:ext cx="5356785" cy="529569"/>
          </a:xfrm>
          <a:prstGeom prst="rect">
            <a:avLst/>
          </a:prstGeom>
          <a:ln w="12700" cmpd="sng">
            <a:noFill/>
          </a:ln>
        </p:spPr>
        <p:txBody>
          <a:bodyPr vert="horz" anchor="ctr"/>
          <a:lstStyle>
            <a:lvl1pPr marL="0" indent="0" algn="l">
              <a:buNone/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pPr lvl="0"/>
            <a:r>
              <a:rPr kumimoji="1" lang="en-US" altLang="zh-CN" dirty="0"/>
              <a:t>CLICK</a:t>
            </a:r>
            <a:r>
              <a:rPr kumimoji="1" lang="zh-CN" altLang="en-US" dirty="0"/>
              <a:t> </a:t>
            </a:r>
            <a:r>
              <a:rPr kumimoji="1" lang="en-US" altLang="zh-CN" dirty="0"/>
              <a:t>HERE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ADD</a:t>
            </a:r>
            <a:r>
              <a:rPr kumimoji="1" lang="zh-CN" altLang="en-US" dirty="0"/>
              <a:t> </a:t>
            </a:r>
            <a:r>
              <a:rPr kumimoji="1" lang="en-US" altLang="zh-CN" dirty="0"/>
              <a:t>YOUR</a:t>
            </a:r>
            <a:r>
              <a:rPr kumimoji="1" lang="zh-CN" altLang="en-US" dirty="0"/>
              <a:t> </a:t>
            </a:r>
            <a:r>
              <a:rPr kumimoji="1" lang="en-US" altLang="zh-CN" dirty="0"/>
              <a:t>TITLE</a:t>
            </a:r>
            <a:endParaRPr kumimoji="1" lang="zh-CN" altLang="en-US" dirty="0"/>
          </a:p>
        </p:txBody>
      </p:sp>
      <p:sp>
        <p:nvSpPr>
          <p:cNvPr id="3" name="矩形 2"/>
          <p:cNvSpPr/>
          <p:nvPr userDrawn="1"/>
        </p:nvSpPr>
        <p:spPr>
          <a:xfrm>
            <a:off x="0" y="256674"/>
            <a:ext cx="659004" cy="52938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节标题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636349" y="2967116"/>
            <a:ext cx="7860325" cy="428625"/>
          </a:xfrm>
        </p:spPr>
        <p:txBody>
          <a:bodyPr anchor="ctr">
            <a:normAutofit/>
          </a:bodyPr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3636349" y="3534273"/>
            <a:ext cx="7860325" cy="746258"/>
          </a:xfrm>
        </p:spPr>
        <p:txBody>
          <a:bodyPr anchor="t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</p:txBody>
      </p:sp>
      <p:cxnSp>
        <p:nvCxnSpPr>
          <p:cNvPr id="32" name="直接连接符 31"/>
          <p:cNvCxnSpPr/>
          <p:nvPr/>
        </p:nvCxnSpPr>
        <p:spPr>
          <a:xfrm>
            <a:off x="3636349" y="2866323"/>
            <a:ext cx="78603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组合 84"/>
          <p:cNvGrpSpPr/>
          <p:nvPr/>
        </p:nvGrpSpPr>
        <p:grpSpPr>
          <a:xfrm>
            <a:off x="531017" y="2359342"/>
            <a:ext cx="2974183" cy="1906065"/>
            <a:chOff x="7046117" y="348455"/>
            <a:chExt cx="3138488" cy="2011363"/>
          </a:xfrm>
        </p:grpSpPr>
        <p:sp>
          <p:nvSpPr>
            <p:cNvPr id="86" name="Freeform 5"/>
            <p:cNvSpPr/>
            <p:nvPr/>
          </p:nvSpPr>
          <p:spPr bwMode="auto">
            <a:xfrm>
              <a:off x="9748042" y="735805"/>
              <a:ext cx="366713" cy="223838"/>
            </a:xfrm>
            <a:custGeom>
              <a:avLst/>
              <a:gdLst>
                <a:gd name="T0" fmla="*/ 0 w 318"/>
                <a:gd name="T1" fmla="*/ 195 h 195"/>
                <a:gd name="T2" fmla="*/ 318 w 318"/>
                <a:gd name="T3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18" h="195">
                  <a:moveTo>
                    <a:pt x="0" y="195"/>
                  </a:moveTo>
                  <a:cubicBezTo>
                    <a:pt x="47" y="67"/>
                    <a:pt x="190" y="0"/>
                    <a:pt x="318" y="47"/>
                  </a:cubicBezTo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" name="Freeform 6"/>
            <p:cNvSpPr/>
            <p:nvPr/>
          </p:nvSpPr>
          <p:spPr bwMode="auto">
            <a:xfrm>
              <a:off x="9808367" y="807243"/>
              <a:ext cx="284163" cy="174625"/>
            </a:xfrm>
            <a:custGeom>
              <a:avLst/>
              <a:gdLst>
                <a:gd name="T0" fmla="*/ 0 w 246"/>
                <a:gd name="T1" fmla="*/ 151 h 151"/>
                <a:gd name="T2" fmla="*/ 246 w 246"/>
                <a:gd name="T3" fmla="*/ 36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6" h="151">
                  <a:moveTo>
                    <a:pt x="0" y="151"/>
                  </a:moveTo>
                  <a:cubicBezTo>
                    <a:pt x="36" y="52"/>
                    <a:pt x="146" y="0"/>
                    <a:pt x="246" y="36"/>
                  </a:cubicBezTo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" name="Freeform 7"/>
            <p:cNvSpPr/>
            <p:nvPr/>
          </p:nvSpPr>
          <p:spPr bwMode="auto">
            <a:xfrm>
              <a:off x="9870280" y="883443"/>
              <a:ext cx="200025" cy="122238"/>
            </a:xfrm>
            <a:custGeom>
              <a:avLst/>
              <a:gdLst>
                <a:gd name="T0" fmla="*/ 0 w 173"/>
                <a:gd name="T1" fmla="*/ 106 h 106"/>
                <a:gd name="T2" fmla="*/ 173 w 173"/>
                <a:gd name="T3" fmla="*/ 2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3" h="106">
                  <a:moveTo>
                    <a:pt x="0" y="106"/>
                  </a:moveTo>
                  <a:cubicBezTo>
                    <a:pt x="25" y="36"/>
                    <a:pt x="103" y="0"/>
                    <a:pt x="173" y="25"/>
                  </a:cubicBezTo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" name="Freeform 8"/>
            <p:cNvSpPr/>
            <p:nvPr/>
          </p:nvSpPr>
          <p:spPr bwMode="auto">
            <a:xfrm>
              <a:off x="9960767" y="989805"/>
              <a:ext cx="92075" cy="93663"/>
            </a:xfrm>
            <a:custGeom>
              <a:avLst/>
              <a:gdLst>
                <a:gd name="T0" fmla="*/ 72 w 80"/>
                <a:gd name="T1" fmla="*/ 26 h 81"/>
                <a:gd name="T2" fmla="*/ 25 w 80"/>
                <a:gd name="T3" fmla="*/ 8 h 81"/>
                <a:gd name="T4" fmla="*/ 8 w 80"/>
                <a:gd name="T5" fmla="*/ 55 h 81"/>
                <a:gd name="T6" fmla="*/ 55 w 80"/>
                <a:gd name="T7" fmla="*/ 73 h 81"/>
                <a:gd name="T8" fmla="*/ 72 w 80"/>
                <a:gd name="T9" fmla="*/ 2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81">
                  <a:moveTo>
                    <a:pt x="72" y="26"/>
                  </a:moveTo>
                  <a:cubicBezTo>
                    <a:pt x="64" y="8"/>
                    <a:pt x="43" y="0"/>
                    <a:pt x="25" y="8"/>
                  </a:cubicBezTo>
                  <a:cubicBezTo>
                    <a:pt x="7" y="17"/>
                    <a:pt x="0" y="38"/>
                    <a:pt x="8" y="55"/>
                  </a:cubicBezTo>
                  <a:cubicBezTo>
                    <a:pt x="16" y="73"/>
                    <a:pt x="37" y="81"/>
                    <a:pt x="55" y="73"/>
                  </a:cubicBezTo>
                  <a:cubicBezTo>
                    <a:pt x="73" y="64"/>
                    <a:pt x="80" y="43"/>
                    <a:pt x="72" y="26"/>
                  </a:cubicBezTo>
                  <a:close/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" name="Freeform 9"/>
            <p:cNvSpPr/>
            <p:nvPr/>
          </p:nvSpPr>
          <p:spPr bwMode="auto">
            <a:xfrm>
              <a:off x="8076405" y="1985168"/>
              <a:ext cx="330200" cy="331788"/>
            </a:xfrm>
            <a:custGeom>
              <a:avLst/>
              <a:gdLst>
                <a:gd name="T0" fmla="*/ 190 w 286"/>
                <a:gd name="T1" fmla="*/ 233 h 287"/>
                <a:gd name="T2" fmla="*/ 249 w 286"/>
                <a:gd name="T3" fmla="*/ 173 h 287"/>
                <a:gd name="T4" fmla="*/ 247 w 286"/>
                <a:gd name="T5" fmla="*/ 37 h 287"/>
                <a:gd name="T6" fmla="*/ 112 w 286"/>
                <a:gd name="T7" fmla="*/ 38 h 287"/>
                <a:gd name="T8" fmla="*/ 22 w 286"/>
                <a:gd name="T9" fmla="*/ 130 h 287"/>
                <a:gd name="T10" fmla="*/ 23 w 286"/>
                <a:gd name="T11" fmla="*/ 209 h 287"/>
                <a:gd name="T12" fmla="*/ 80 w 286"/>
                <a:gd name="T13" fmla="*/ 265 h 287"/>
                <a:gd name="T14" fmla="*/ 159 w 286"/>
                <a:gd name="T15" fmla="*/ 264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6" h="287">
                  <a:moveTo>
                    <a:pt x="190" y="233"/>
                  </a:moveTo>
                  <a:cubicBezTo>
                    <a:pt x="249" y="173"/>
                    <a:pt x="249" y="173"/>
                    <a:pt x="249" y="173"/>
                  </a:cubicBezTo>
                  <a:cubicBezTo>
                    <a:pt x="286" y="135"/>
                    <a:pt x="285" y="74"/>
                    <a:pt x="247" y="37"/>
                  </a:cubicBezTo>
                  <a:cubicBezTo>
                    <a:pt x="209" y="0"/>
                    <a:pt x="149" y="0"/>
                    <a:pt x="112" y="38"/>
                  </a:cubicBezTo>
                  <a:cubicBezTo>
                    <a:pt x="22" y="130"/>
                    <a:pt x="22" y="130"/>
                    <a:pt x="22" y="130"/>
                  </a:cubicBezTo>
                  <a:cubicBezTo>
                    <a:pt x="0" y="152"/>
                    <a:pt x="1" y="187"/>
                    <a:pt x="23" y="209"/>
                  </a:cubicBezTo>
                  <a:cubicBezTo>
                    <a:pt x="80" y="265"/>
                    <a:pt x="80" y="265"/>
                    <a:pt x="80" y="265"/>
                  </a:cubicBezTo>
                  <a:cubicBezTo>
                    <a:pt x="102" y="287"/>
                    <a:pt x="138" y="286"/>
                    <a:pt x="159" y="264"/>
                  </a:cubicBezTo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" name="Freeform 10"/>
            <p:cNvSpPr/>
            <p:nvPr/>
          </p:nvSpPr>
          <p:spPr bwMode="auto">
            <a:xfrm>
              <a:off x="8285955" y="1843880"/>
              <a:ext cx="588963" cy="260350"/>
            </a:xfrm>
            <a:custGeom>
              <a:avLst/>
              <a:gdLst>
                <a:gd name="T0" fmla="*/ 0 w 510"/>
                <a:gd name="T1" fmla="*/ 226 h 226"/>
                <a:gd name="T2" fmla="*/ 65 w 510"/>
                <a:gd name="T3" fmla="*/ 159 h 226"/>
                <a:gd name="T4" fmla="*/ 99 w 510"/>
                <a:gd name="T5" fmla="*/ 126 h 226"/>
                <a:gd name="T6" fmla="*/ 266 w 510"/>
                <a:gd name="T7" fmla="*/ 113 h 226"/>
                <a:gd name="T8" fmla="*/ 266 w 510"/>
                <a:gd name="T9" fmla="*/ 113 h 226"/>
                <a:gd name="T10" fmla="*/ 446 w 510"/>
                <a:gd name="T11" fmla="*/ 84 h 226"/>
                <a:gd name="T12" fmla="*/ 510 w 510"/>
                <a:gd name="T13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226">
                  <a:moveTo>
                    <a:pt x="0" y="226"/>
                  </a:moveTo>
                  <a:cubicBezTo>
                    <a:pt x="65" y="159"/>
                    <a:pt x="65" y="159"/>
                    <a:pt x="65" y="159"/>
                  </a:cubicBezTo>
                  <a:cubicBezTo>
                    <a:pt x="99" y="126"/>
                    <a:pt x="99" y="126"/>
                    <a:pt x="99" y="126"/>
                  </a:cubicBezTo>
                  <a:cubicBezTo>
                    <a:pt x="144" y="82"/>
                    <a:pt x="214" y="76"/>
                    <a:pt x="266" y="113"/>
                  </a:cubicBezTo>
                  <a:cubicBezTo>
                    <a:pt x="266" y="113"/>
                    <a:pt x="266" y="113"/>
                    <a:pt x="266" y="113"/>
                  </a:cubicBezTo>
                  <a:cubicBezTo>
                    <a:pt x="324" y="153"/>
                    <a:pt x="403" y="140"/>
                    <a:pt x="446" y="84"/>
                  </a:cubicBezTo>
                  <a:cubicBezTo>
                    <a:pt x="510" y="0"/>
                    <a:pt x="510" y="0"/>
                    <a:pt x="510" y="0"/>
                  </a:cubicBezTo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" name="Freeform 11"/>
            <p:cNvSpPr/>
            <p:nvPr/>
          </p:nvSpPr>
          <p:spPr bwMode="auto">
            <a:xfrm>
              <a:off x="8178005" y="2058193"/>
              <a:ext cx="157163" cy="153988"/>
            </a:xfrm>
            <a:custGeom>
              <a:avLst/>
              <a:gdLst>
                <a:gd name="T0" fmla="*/ 0 w 137"/>
                <a:gd name="T1" fmla="*/ 0 h 134"/>
                <a:gd name="T2" fmla="*/ 137 w 137"/>
                <a:gd name="T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7" h="134">
                  <a:moveTo>
                    <a:pt x="0" y="0"/>
                  </a:moveTo>
                  <a:cubicBezTo>
                    <a:pt x="2" y="2"/>
                    <a:pt x="137" y="134"/>
                    <a:pt x="137" y="134"/>
                  </a:cubicBezTo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" name="Freeform 12"/>
            <p:cNvSpPr/>
            <p:nvPr/>
          </p:nvSpPr>
          <p:spPr bwMode="auto">
            <a:xfrm>
              <a:off x="8292305" y="696118"/>
              <a:ext cx="1285875" cy="1027113"/>
            </a:xfrm>
            <a:custGeom>
              <a:avLst/>
              <a:gdLst>
                <a:gd name="T0" fmla="*/ 1089 w 1113"/>
                <a:gd name="T1" fmla="*/ 554 h 888"/>
                <a:gd name="T2" fmla="*/ 1113 w 1113"/>
                <a:gd name="T3" fmla="*/ 649 h 888"/>
                <a:gd name="T4" fmla="*/ 155 w 1113"/>
                <a:gd name="T5" fmla="*/ 888 h 888"/>
                <a:gd name="T6" fmla="*/ 13 w 1113"/>
                <a:gd name="T7" fmla="*/ 319 h 888"/>
                <a:gd name="T8" fmla="*/ 80 w 1113"/>
                <a:gd name="T9" fmla="*/ 207 h 888"/>
                <a:gd name="T10" fmla="*/ 859 w 1113"/>
                <a:gd name="T11" fmla="*/ 12 h 888"/>
                <a:gd name="T12" fmla="*/ 971 w 1113"/>
                <a:gd name="T13" fmla="*/ 80 h 888"/>
                <a:gd name="T14" fmla="*/ 1066 w 1113"/>
                <a:gd name="T15" fmla="*/ 460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3" h="888">
                  <a:moveTo>
                    <a:pt x="1089" y="554"/>
                  </a:moveTo>
                  <a:cubicBezTo>
                    <a:pt x="1113" y="649"/>
                    <a:pt x="1113" y="649"/>
                    <a:pt x="1113" y="649"/>
                  </a:cubicBezTo>
                  <a:cubicBezTo>
                    <a:pt x="155" y="888"/>
                    <a:pt x="155" y="888"/>
                    <a:pt x="155" y="888"/>
                  </a:cubicBezTo>
                  <a:cubicBezTo>
                    <a:pt x="13" y="319"/>
                    <a:pt x="13" y="319"/>
                    <a:pt x="13" y="319"/>
                  </a:cubicBezTo>
                  <a:cubicBezTo>
                    <a:pt x="0" y="269"/>
                    <a:pt x="30" y="219"/>
                    <a:pt x="80" y="207"/>
                  </a:cubicBezTo>
                  <a:cubicBezTo>
                    <a:pt x="859" y="12"/>
                    <a:pt x="859" y="12"/>
                    <a:pt x="859" y="12"/>
                  </a:cubicBezTo>
                  <a:cubicBezTo>
                    <a:pt x="908" y="0"/>
                    <a:pt x="959" y="30"/>
                    <a:pt x="971" y="80"/>
                  </a:cubicBezTo>
                  <a:cubicBezTo>
                    <a:pt x="1066" y="460"/>
                    <a:pt x="1066" y="460"/>
                    <a:pt x="1066" y="460"/>
                  </a:cubicBezTo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" name="Freeform 13"/>
            <p:cNvSpPr/>
            <p:nvPr/>
          </p:nvSpPr>
          <p:spPr bwMode="auto">
            <a:xfrm>
              <a:off x="8379617" y="789780"/>
              <a:ext cx="1098550" cy="806450"/>
            </a:xfrm>
            <a:custGeom>
              <a:avLst/>
              <a:gdLst>
                <a:gd name="T0" fmla="*/ 929 w 951"/>
                <a:gd name="T1" fmla="*/ 401 h 698"/>
                <a:gd name="T2" fmla="*/ 951 w 951"/>
                <a:gd name="T3" fmla="*/ 490 h 698"/>
                <a:gd name="T4" fmla="*/ 118 w 951"/>
                <a:gd name="T5" fmla="*/ 698 h 698"/>
                <a:gd name="T6" fmla="*/ 7 w 951"/>
                <a:gd name="T7" fmla="*/ 255 h 698"/>
                <a:gd name="T8" fmla="*/ 46 w 951"/>
                <a:gd name="T9" fmla="*/ 189 h 698"/>
                <a:gd name="T10" fmla="*/ 775 w 951"/>
                <a:gd name="T11" fmla="*/ 8 h 698"/>
                <a:gd name="T12" fmla="*/ 840 w 951"/>
                <a:gd name="T13" fmla="*/ 47 h 698"/>
                <a:gd name="T14" fmla="*/ 929 w 951"/>
                <a:gd name="T15" fmla="*/ 401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1" h="698">
                  <a:moveTo>
                    <a:pt x="929" y="401"/>
                  </a:moveTo>
                  <a:cubicBezTo>
                    <a:pt x="951" y="490"/>
                    <a:pt x="951" y="490"/>
                    <a:pt x="951" y="490"/>
                  </a:cubicBezTo>
                  <a:cubicBezTo>
                    <a:pt x="118" y="698"/>
                    <a:pt x="118" y="698"/>
                    <a:pt x="118" y="698"/>
                  </a:cubicBezTo>
                  <a:cubicBezTo>
                    <a:pt x="7" y="255"/>
                    <a:pt x="7" y="255"/>
                    <a:pt x="7" y="255"/>
                  </a:cubicBezTo>
                  <a:cubicBezTo>
                    <a:pt x="0" y="226"/>
                    <a:pt x="17" y="197"/>
                    <a:pt x="46" y="189"/>
                  </a:cubicBezTo>
                  <a:cubicBezTo>
                    <a:pt x="775" y="8"/>
                    <a:pt x="775" y="8"/>
                    <a:pt x="775" y="8"/>
                  </a:cubicBezTo>
                  <a:cubicBezTo>
                    <a:pt x="804" y="0"/>
                    <a:pt x="833" y="18"/>
                    <a:pt x="840" y="47"/>
                  </a:cubicBezTo>
                  <a:cubicBezTo>
                    <a:pt x="929" y="401"/>
                    <a:pt x="929" y="401"/>
                    <a:pt x="929" y="401"/>
                  </a:cubicBezTo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" name="Freeform 14"/>
            <p:cNvSpPr/>
            <p:nvPr/>
          </p:nvSpPr>
          <p:spPr bwMode="auto">
            <a:xfrm>
              <a:off x="8851105" y="1621630"/>
              <a:ext cx="411163" cy="185738"/>
            </a:xfrm>
            <a:custGeom>
              <a:avLst/>
              <a:gdLst>
                <a:gd name="T0" fmla="*/ 259 w 259"/>
                <a:gd name="T1" fmla="*/ 56 h 117"/>
                <a:gd name="T2" fmla="*/ 14 w 259"/>
                <a:gd name="T3" fmla="*/ 117 h 117"/>
                <a:gd name="T4" fmla="*/ 0 w 259"/>
                <a:gd name="T5" fmla="*/ 61 h 117"/>
                <a:gd name="T6" fmla="*/ 245 w 259"/>
                <a:gd name="T7" fmla="*/ 0 h 117"/>
                <a:gd name="T8" fmla="*/ 259 w 259"/>
                <a:gd name="T9" fmla="*/ 5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117">
                  <a:moveTo>
                    <a:pt x="259" y="56"/>
                  </a:moveTo>
                  <a:lnTo>
                    <a:pt x="14" y="117"/>
                  </a:lnTo>
                  <a:lnTo>
                    <a:pt x="0" y="61"/>
                  </a:lnTo>
                  <a:lnTo>
                    <a:pt x="245" y="0"/>
                  </a:lnTo>
                  <a:lnTo>
                    <a:pt x="259" y="56"/>
                  </a:lnTo>
                  <a:close/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" name="Freeform 15"/>
            <p:cNvSpPr/>
            <p:nvPr/>
          </p:nvSpPr>
          <p:spPr bwMode="auto">
            <a:xfrm>
              <a:off x="8924130" y="1559718"/>
              <a:ext cx="220663" cy="134938"/>
            </a:xfrm>
            <a:custGeom>
              <a:avLst/>
              <a:gdLst>
                <a:gd name="T0" fmla="*/ 139 w 139"/>
                <a:gd name="T1" fmla="*/ 53 h 85"/>
                <a:gd name="T2" fmla="*/ 14 w 139"/>
                <a:gd name="T3" fmla="*/ 85 h 85"/>
                <a:gd name="T4" fmla="*/ 0 w 139"/>
                <a:gd name="T5" fmla="*/ 31 h 85"/>
                <a:gd name="T6" fmla="*/ 126 w 139"/>
                <a:gd name="T7" fmla="*/ 0 h 85"/>
                <a:gd name="T8" fmla="*/ 139 w 139"/>
                <a:gd name="T9" fmla="*/ 5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85">
                  <a:moveTo>
                    <a:pt x="139" y="53"/>
                  </a:moveTo>
                  <a:lnTo>
                    <a:pt x="14" y="85"/>
                  </a:lnTo>
                  <a:lnTo>
                    <a:pt x="0" y="31"/>
                  </a:lnTo>
                  <a:lnTo>
                    <a:pt x="126" y="0"/>
                  </a:lnTo>
                  <a:lnTo>
                    <a:pt x="139" y="53"/>
                  </a:lnTo>
                  <a:close/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7" name="Freeform 16"/>
            <p:cNvSpPr/>
            <p:nvPr/>
          </p:nvSpPr>
          <p:spPr bwMode="auto">
            <a:xfrm>
              <a:off x="8573292" y="1066005"/>
              <a:ext cx="768350" cy="409575"/>
            </a:xfrm>
            <a:custGeom>
              <a:avLst/>
              <a:gdLst>
                <a:gd name="T0" fmla="*/ 0 w 484"/>
                <a:gd name="T1" fmla="*/ 258 h 258"/>
                <a:gd name="T2" fmla="*/ 99 w 484"/>
                <a:gd name="T3" fmla="*/ 24 h 258"/>
                <a:gd name="T4" fmla="*/ 252 w 484"/>
                <a:gd name="T5" fmla="*/ 102 h 258"/>
                <a:gd name="T6" fmla="*/ 291 w 484"/>
                <a:gd name="T7" fmla="*/ 0 h 258"/>
                <a:gd name="T8" fmla="*/ 484 w 484"/>
                <a:gd name="T9" fmla="*/ 115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4" h="258">
                  <a:moveTo>
                    <a:pt x="0" y="258"/>
                  </a:moveTo>
                  <a:lnTo>
                    <a:pt x="99" y="24"/>
                  </a:lnTo>
                  <a:lnTo>
                    <a:pt x="252" y="102"/>
                  </a:lnTo>
                  <a:lnTo>
                    <a:pt x="291" y="0"/>
                  </a:lnTo>
                  <a:lnTo>
                    <a:pt x="484" y="115"/>
                  </a:lnTo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8" name="Freeform 17"/>
            <p:cNvSpPr/>
            <p:nvPr/>
          </p:nvSpPr>
          <p:spPr bwMode="auto">
            <a:xfrm>
              <a:off x="9330530" y="1678780"/>
              <a:ext cx="739775" cy="681038"/>
            </a:xfrm>
            <a:custGeom>
              <a:avLst/>
              <a:gdLst>
                <a:gd name="T0" fmla="*/ 365 w 466"/>
                <a:gd name="T1" fmla="*/ 401 h 429"/>
                <a:gd name="T2" fmla="*/ 343 w 466"/>
                <a:gd name="T3" fmla="*/ 429 h 429"/>
                <a:gd name="T4" fmla="*/ 0 w 466"/>
                <a:gd name="T5" fmla="*/ 154 h 429"/>
                <a:gd name="T6" fmla="*/ 124 w 466"/>
                <a:gd name="T7" fmla="*/ 0 h 429"/>
                <a:gd name="T8" fmla="*/ 466 w 466"/>
                <a:gd name="T9" fmla="*/ 275 h 429"/>
                <a:gd name="T10" fmla="*/ 385 w 466"/>
                <a:gd name="T11" fmla="*/ 376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429">
                  <a:moveTo>
                    <a:pt x="365" y="401"/>
                  </a:moveTo>
                  <a:lnTo>
                    <a:pt x="343" y="429"/>
                  </a:lnTo>
                  <a:lnTo>
                    <a:pt x="0" y="154"/>
                  </a:lnTo>
                  <a:lnTo>
                    <a:pt x="124" y="0"/>
                  </a:lnTo>
                  <a:lnTo>
                    <a:pt x="466" y="275"/>
                  </a:lnTo>
                  <a:lnTo>
                    <a:pt x="385" y="376"/>
                  </a:lnTo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9" name="Freeform 18"/>
            <p:cNvSpPr/>
            <p:nvPr/>
          </p:nvSpPr>
          <p:spPr bwMode="auto">
            <a:xfrm>
              <a:off x="9330530" y="1723230"/>
              <a:ext cx="704850" cy="636588"/>
            </a:xfrm>
            <a:custGeom>
              <a:avLst/>
              <a:gdLst>
                <a:gd name="T0" fmla="*/ 365 w 444"/>
                <a:gd name="T1" fmla="*/ 373 h 401"/>
                <a:gd name="T2" fmla="*/ 343 w 444"/>
                <a:gd name="T3" fmla="*/ 401 h 401"/>
                <a:gd name="T4" fmla="*/ 0 w 444"/>
                <a:gd name="T5" fmla="*/ 126 h 401"/>
                <a:gd name="T6" fmla="*/ 101 w 444"/>
                <a:gd name="T7" fmla="*/ 0 h 401"/>
                <a:gd name="T8" fmla="*/ 444 w 444"/>
                <a:gd name="T9" fmla="*/ 275 h 401"/>
                <a:gd name="T10" fmla="*/ 391 w 444"/>
                <a:gd name="T11" fmla="*/ 341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4" h="401">
                  <a:moveTo>
                    <a:pt x="365" y="373"/>
                  </a:moveTo>
                  <a:lnTo>
                    <a:pt x="343" y="401"/>
                  </a:lnTo>
                  <a:lnTo>
                    <a:pt x="0" y="126"/>
                  </a:lnTo>
                  <a:lnTo>
                    <a:pt x="101" y="0"/>
                  </a:lnTo>
                  <a:lnTo>
                    <a:pt x="444" y="275"/>
                  </a:lnTo>
                  <a:lnTo>
                    <a:pt x="391" y="341"/>
                  </a:lnTo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0" name="Freeform 19"/>
            <p:cNvSpPr/>
            <p:nvPr/>
          </p:nvSpPr>
          <p:spPr bwMode="auto">
            <a:xfrm>
              <a:off x="9624217" y="1493043"/>
              <a:ext cx="560388" cy="542925"/>
            </a:xfrm>
            <a:custGeom>
              <a:avLst/>
              <a:gdLst>
                <a:gd name="T0" fmla="*/ 220 w 353"/>
                <a:gd name="T1" fmla="*/ 342 h 342"/>
                <a:gd name="T2" fmla="*/ 0 w 353"/>
                <a:gd name="T3" fmla="*/ 166 h 342"/>
                <a:gd name="T4" fmla="*/ 134 w 353"/>
                <a:gd name="T5" fmla="*/ 0 h 342"/>
                <a:gd name="T6" fmla="*/ 353 w 353"/>
                <a:gd name="T7" fmla="*/ 177 h 342"/>
                <a:gd name="T8" fmla="*/ 220 w 353"/>
                <a:gd name="T9" fmla="*/ 34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" h="342">
                  <a:moveTo>
                    <a:pt x="220" y="342"/>
                  </a:moveTo>
                  <a:lnTo>
                    <a:pt x="0" y="166"/>
                  </a:lnTo>
                  <a:lnTo>
                    <a:pt x="134" y="0"/>
                  </a:lnTo>
                  <a:lnTo>
                    <a:pt x="353" y="177"/>
                  </a:lnTo>
                  <a:lnTo>
                    <a:pt x="220" y="342"/>
                  </a:lnTo>
                  <a:close/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1" name="Freeform 20"/>
            <p:cNvSpPr/>
            <p:nvPr/>
          </p:nvSpPr>
          <p:spPr bwMode="auto">
            <a:xfrm>
              <a:off x="9560717" y="1634330"/>
              <a:ext cx="122238" cy="122238"/>
            </a:xfrm>
            <a:custGeom>
              <a:avLst/>
              <a:gdLst>
                <a:gd name="T0" fmla="*/ 40 w 77"/>
                <a:gd name="T1" fmla="*/ 77 h 77"/>
                <a:gd name="T2" fmla="*/ 0 w 77"/>
                <a:gd name="T3" fmla="*/ 45 h 77"/>
                <a:gd name="T4" fmla="*/ 37 w 77"/>
                <a:gd name="T5" fmla="*/ 0 h 77"/>
                <a:gd name="T6" fmla="*/ 77 w 77"/>
                <a:gd name="T7" fmla="*/ 32 h 77"/>
                <a:gd name="T8" fmla="*/ 40 w 77"/>
                <a:gd name="T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7">
                  <a:moveTo>
                    <a:pt x="40" y="77"/>
                  </a:moveTo>
                  <a:lnTo>
                    <a:pt x="0" y="45"/>
                  </a:lnTo>
                  <a:lnTo>
                    <a:pt x="37" y="0"/>
                  </a:lnTo>
                  <a:lnTo>
                    <a:pt x="77" y="32"/>
                  </a:lnTo>
                  <a:lnTo>
                    <a:pt x="40" y="77"/>
                  </a:lnTo>
                  <a:close/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2" name="Freeform 21"/>
            <p:cNvSpPr/>
            <p:nvPr/>
          </p:nvSpPr>
          <p:spPr bwMode="auto">
            <a:xfrm>
              <a:off x="9973467" y="1964530"/>
              <a:ext cx="122238" cy="122238"/>
            </a:xfrm>
            <a:custGeom>
              <a:avLst/>
              <a:gdLst>
                <a:gd name="T0" fmla="*/ 39 w 77"/>
                <a:gd name="T1" fmla="*/ 77 h 77"/>
                <a:gd name="T2" fmla="*/ 0 w 77"/>
                <a:gd name="T3" fmla="*/ 45 h 77"/>
                <a:gd name="T4" fmla="*/ 37 w 77"/>
                <a:gd name="T5" fmla="*/ 0 h 77"/>
                <a:gd name="T6" fmla="*/ 77 w 77"/>
                <a:gd name="T7" fmla="*/ 32 h 77"/>
                <a:gd name="T8" fmla="*/ 39 w 77"/>
                <a:gd name="T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7">
                  <a:moveTo>
                    <a:pt x="39" y="77"/>
                  </a:moveTo>
                  <a:lnTo>
                    <a:pt x="0" y="45"/>
                  </a:lnTo>
                  <a:lnTo>
                    <a:pt x="37" y="0"/>
                  </a:lnTo>
                  <a:lnTo>
                    <a:pt x="77" y="32"/>
                  </a:lnTo>
                  <a:lnTo>
                    <a:pt x="39" y="77"/>
                  </a:lnTo>
                  <a:close/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3" name="Line 22"/>
            <p:cNvSpPr>
              <a:spLocks noChangeShapeType="1"/>
            </p:cNvSpPr>
            <p:nvPr/>
          </p:nvSpPr>
          <p:spPr bwMode="auto">
            <a:xfrm>
              <a:off x="9848055" y="1588293"/>
              <a:ext cx="246063" cy="198438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4" name="Line 23"/>
            <p:cNvSpPr>
              <a:spLocks noChangeShapeType="1"/>
            </p:cNvSpPr>
            <p:nvPr/>
          </p:nvSpPr>
          <p:spPr bwMode="auto">
            <a:xfrm>
              <a:off x="9786142" y="1662905"/>
              <a:ext cx="247650" cy="198438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5" name="Line 24"/>
            <p:cNvSpPr>
              <a:spLocks noChangeShapeType="1"/>
            </p:cNvSpPr>
            <p:nvPr/>
          </p:nvSpPr>
          <p:spPr bwMode="auto">
            <a:xfrm>
              <a:off x="9725817" y="1739105"/>
              <a:ext cx="247650" cy="198438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6" name="Line 25"/>
            <p:cNvSpPr>
              <a:spLocks noChangeShapeType="1"/>
            </p:cNvSpPr>
            <p:nvPr/>
          </p:nvSpPr>
          <p:spPr bwMode="auto">
            <a:xfrm flipH="1">
              <a:off x="9043192" y="2078830"/>
              <a:ext cx="60325" cy="61913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7" name="Line 26"/>
            <p:cNvSpPr>
              <a:spLocks noChangeShapeType="1"/>
            </p:cNvSpPr>
            <p:nvPr/>
          </p:nvSpPr>
          <p:spPr bwMode="auto">
            <a:xfrm flipH="1">
              <a:off x="8898730" y="2223293"/>
              <a:ext cx="60325" cy="58738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8" name="Line 27"/>
            <p:cNvSpPr>
              <a:spLocks noChangeShapeType="1"/>
            </p:cNvSpPr>
            <p:nvPr/>
          </p:nvSpPr>
          <p:spPr bwMode="auto">
            <a:xfrm>
              <a:off x="8898730" y="2078830"/>
              <a:ext cx="60325" cy="61913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9" name="Line 28"/>
            <p:cNvSpPr>
              <a:spLocks noChangeShapeType="1"/>
            </p:cNvSpPr>
            <p:nvPr/>
          </p:nvSpPr>
          <p:spPr bwMode="auto">
            <a:xfrm>
              <a:off x="9043192" y="2223293"/>
              <a:ext cx="60325" cy="58738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0" name="Line 29"/>
            <p:cNvSpPr>
              <a:spLocks noChangeShapeType="1"/>
            </p:cNvSpPr>
            <p:nvPr/>
          </p:nvSpPr>
          <p:spPr bwMode="auto">
            <a:xfrm flipH="1">
              <a:off x="7377905" y="1761330"/>
              <a:ext cx="61913" cy="58738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1" name="Line 30"/>
            <p:cNvSpPr>
              <a:spLocks noChangeShapeType="1"/>
            </p:cNvSpPr>
            <p:nvPr/>
          </p:nvSpPr>
          <p:spPr bwMode="auto">
            <a:xfrm flipH="1">
              <a:off x="7236617" y="1902618"/>
              <a:ext cx="60325" cy="60325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2" name="Line 31"/>
            <p:cNvSpPr>
              <a:spLocks noChangeShapeType="1"/>
            </p:cNvSpPr>
            <p:nvPr/>
          </p:nvSpPr>
          <p:spPr bwMode="auto">
            <a:xfrm>
              <a:off x="7236617" y="1761330"/>
              <a:ext cx="60325" cy="58738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3" name="Line 32"/>
            <p:cNvSpPr>
              <a:spLocks noChangeShapeType="1"/>
            </p:cNvSpPr>
            <p:nvPr/>
          </p:nvSpPr>
          <p:spPr bwMode="auto">
            <a:xfrm>
              <a:off x="7377905" y="1902618"/>
              <a:ext cx="61913" cy="60325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4" name="Line 33"/>
            <p:cNvSpPr>
              <a:spLocks noChangeShapeType="1"/>
            </p:cNvSpPr>
            <p:nvPr/>
          </p:nvSpPr>
          <p:spPr bwMode="auto">
            <a:xfrm flipH="1">
              <a:off x="9382917" y="362743"/>
              <a:ext cx="58738" cy="60325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5" name="Line 34"/>
            <p:cNvSpPr>
              <a:spLocks noChangeShapeType="1"/>
            </p:cNvSpPr>
            <p:nvPr/>
          </p:nvSpPr>
          <p:spPr bwMode="auto">
            <a:xfrm flipH="1">
              <a:off x="9238455" y="505618"/>
              <a:ext cx="61913" cy="60325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6" name="Line 35"/>
            <p:cNvSpPr>
              <a:spLocks noChangeShapeType="1"/>
            </p:cNvSpPr>
            <p:nvPr/>
          </p:nvSpPr>
          <p:spPr bwMode="auto">
            <a:xfrm>
              <a:off x="9238455" y="362743"/>
              <a:ext cx="61913" cy="60325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7" name="Line 36"/>
            <p:cNvSpPr>
              <a:spLocks noChangeShapeType="1"/>
            </p:cNvSpPr>
            <p:nvPr/>
          </p:nvSpPr>
          <p:spPr bwMode="auto">
            <a:xfrm>
              <a:off x="9382917" y="505618"/>
              <a:ext cx="58738" cy="60325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8" name="Oval 37"/>
            <p:cNvSpPr>
              <a:spLocks noChangeArrowheads="1"/>
            </p:cNvSpPr>
            <p:nvPr/>
          </p:nvSpPr>
          <p:spPr bwMode="auto">
            <a:xfrm>
              <a:off x="9725817" y="1213643"/>
              <a:ext cx="120650" cy="122238"/>
            </a:xfrm>
            <a:prstGeom prst="ellips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9" name="Freeform 38"/>
            <p:cNvSpPr/>
            <p:nvPr/>
          </p:nvSpPr>
          <p:spPr bwMode="auto">
            <a:xfrm>
              <a:off x="7625555" y="1104105"/>
              <a:ext cx="523875" cy="777875"/>
            </a:xfrm>
            <a:custGeom>
              <a:avLst/>
              <a:gdLst>
                <a:gd name="T0" fmla="*/ 238 w 330"/>
                <a:gd name="T1" fmla="*/ 490 h 490"/>
                <a:gd name="T2" fmla="*/ 0 w 330"/>
                <a:gd name="T3" fmla="*/ 440 h 490"/>
                <a:gd name="T4" fmla="*/ 92 w 330"/>
                <a:gd name="T5" fmla="*/ 0 h 490"/>
                <a:gd name="T6" fmla="*/ 330 w 330"/>
                <a:gd name="T7" fmla="*/ 49 h 490"/>
                <a:gd name="T8" fmla="*/ 260 w 330"/>
                <a:gd name="T9" fmla="*/ 387 h 490"/>
                <a:gd name="T10" fmla="*/ 254 w 330"/>
                <a:gd name="T11" fmla="*/ 412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0" h="490">
                  <a:moveTo>
                    <a:pt x="238" y="490"/>
                  </a:moveTo>
                  <a:lnTo>
                    <a:pt x="0" y="440"/>
                  </a:lnTo>
                  <a:lnTo>
                    <a:pt x="92" y="0"/>
                  </a:lnTo>
                  <a:lnTo>
                    <a:pt x="330" y="49"/>
                  </a:lnTo>
                  <a:lnTo>
                    <a:pt x="260" y="387"/>
                  </a:lnTo>
                  <a:lnTo>
                    <a:pt x="254" y="412"/>
                  </a:lnTo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0" name="Freeform 39"/>
            <p:cNvSpPr/>
            <p:nvPr/>
          </p:nvSpPr>
          <p:spPr bwMode="auto">
            <a:xfrm>
              <a:off x="7728742" y="1213643"/>
              <a:ext cx="398463" cy="177800"/>
            </a:xfrm>
            <a:custGeom>
              <a:avLst/>
              <a:gdLst>
                <a:gd name="T0" fmla="*/ 238 w 251"/>
                <a:gd name="T1" fmla="*/ 112 h 112"/>
                <a:gd name="T2" fmla="*/ 0 w 251"/>
                <a:gd name="T3" fmla="*/ 62 h 112"/>
                <a:gd name="T4" fmla="*/ 13 w 251"/>
                <a:gd name="T5" fmla="*/ 0 h 112"/>
                <a:gd name="T6" fmla="*/ 251 w 251"/>
                <a:gd name="T7" fmla="*/ 49 h 112"/>
                <a:gd name="T8" fmla="*/ 238 w 251"/>
                <a:gd name="T9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1" h="112">
                  <a:moveTo>
                    <a:pt x="238" y="112"/>
                  </a:moveTo>
                  <a:lnTo>
                    <a:pt x="0" y="62"/>
                  </a:lnTo>
                  <a:lnTo>
                    <a:pt x="13" y="0"/>
                  </a:lnTo>
                  <a:lnTo>
                    <a:pt x="251" y="49"/>
                  </a:lnTo>
                  <a:lnTo>
                    <a:pt x="238" y="112"/>
                  </a:lnTo>
                  <a:close/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1" name="Line 40"/>
            <p:cNvSpPr>
              <a:spLocks noChangeShapeType="1"/>
            </p:cNvSpPr>
            <p:nvPr/>
          </p:nvSpPr>
          <p:spPr bwMode="auto">
            <a:xfrm>
              <a:off x="7779542" y="1272380"/>
              <a:ext cx="295275" cy="60325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2" name="Freeform 41"/>
            <p:cNvSpPr/>
            <p:nvPr/>
          </p:nvSpPr>
          <p:spPr bwMode="auto">
            <a:xfrm>
              <a:off x="7827167" y="650080"/>
              <a:ext cx="152400" cy="152400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lnTo>
                    <a:pt x="0" y="48"/>
                  </a:lnTo>
                  <a:lnTo>
                    <a:pt x="48" y="0"/>
                  </a:lnTo>
                  <a:lnTo>
                    <a:pt x="96" y="48"/>
                  </a:lnTo>
                  <a:lnTo>
                    <a:pt x="48" y="96"/>
                  </a:lnTo>
                  <a:close/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3" name="Freeform 42"/>
            <p:cNvSpPr/>
            <p:nvPr/>
          </p:nvSpPr>
          <p:spPr bwMode="auto">
            <a:xfrm>
              <a:off x="9997280" y="348455"/>
              <a:ext cx="150813" cy="150813"/>
            </a:xfrm>
            <a:custGeom>
              <a:avLst/>
              <a:gdLst>
                <a:gd name="T0" fmla="*/ 48 w 95"/>
                <a:gd name="T1" fmla="*/ 95 h 95"/>
                <a:gd name="T2" fmla="*/ 0 w 95"/>
                <a:gd name="T3" fmla="*/ 47 h 95"/>
                <a:gd name="T4" fmla="*/ 48 w 95"/>
                <a:gd name="T5" fmla="*/ 0 h 95"/>
                <a:gd name="T6" fmla="*/ 95 w 95"/>
                <a:gd name="T7" fmla="*/ 47 h 95"/>
                <a:gd name="T8" fmla="*/ 48 w 95"/>
                <a:gd name="T9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5">
                  <a:moveTo>
                    <a:pt x="48" y="95"/>
                  </a:moveTo>
                  <a:lnTo>
                    <a:pt x="0" y="47"/>
                  </a:lnTo>
                  <a:lnTo>
                    <a:pt x="48" y="0"/>
                  </a:lnTo>
                  <a:lnTo>
                    <a:pt x="95" y="47"/>
                  </a:lnTo>
                  <a:lnTo>
                    <a:pt x="48" y="95"/>
                  </a:lnTo>
                  <a:close/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4" name="Freeform 43"/>
            <p:cNvSpPr/>
            <p:nvPr/>
          </p:nvSpPr>
          <p:spPr bwMode="auto">
            <a:xfrm>
              <a:off x="8393905" y="392905"/>
              <a:ext cx="201613" cy="231775"/>
            </a:xfrm>
            <a:custGeom>
              <a:avLst/>
              <a:gdLst>
                <a:gd name="T0" fmla="*/ 127 w 127"/>
                <a:gd name="T1" fmla="*/ 109 h 146"/>
                <a:gd name="T2" fmla="*/ 65 w 127"/>
                <a:gd name="T3" fmla="*/ 146 h 146"/>
                <a:gd name="T4" fmla="*/ 0 w 127"/>
                <a:gd name="T5" fmla="*/ 37 h 146"/>
                <a:gd name="T6" fmla="*/ 62 w 127"/>
                <a:gd name="T7" fmla="*/ 0 h 146"/>
                <a:gd name="T8" fmla="*/ 127 w 127"/>
                <a:gd name="T9" fmla="*/ 109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46">
                  <a:moveTo>
                    <a:pt x="127" y="109"/>
                  </a:moveTo>
                  <a:lnTo>
                    <a:pt x="65" y="146"/>
                  </a:lnTo>
                  <a:lnTo>
                    <a:pt x="0" y="37"/>
                  </a:lnTo>
                  <a:lnTo>
                    <a:pt x="62" y="0"/>
                  </a:lnTo>
                  <a:lnTo>
                    <a:pt x="127" y="109"/>
                  </a:lnTo>
                  <a:close/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5" name="Freeform 44"/>
            <p:cNvSpPr/>
            <p:nvPr/>
          </p:nvSpPr>
          <p:spPr bwMode="auto">
            <a:xfrm>
              <a:off x="8424067" y="445293"/>
              <a:ext cx="171450" cy="179388"/>
            </a:xfrm>
            <a:custGeom>
              <a:avLst/>
              <a:gdLst>
                <a:gd name="T0" fmla="*/ 108 w 108"/>
                <a:gd name="T1" fmla="*/ 76 h 113"/>
                <a:gd name="T2" fmla="*/ 46 w 108"/>
                <a:gd name="T3" fmla="*/ 113 h 113"/>
                <a:gd name="T4" fmla="*/ 0 w 108"/>
                <a:gd name="T5" fmla="*/ 37 h 113"/>
                <a:gd name="T6" fmla="*/ 62 w 108"/>
                <a:gd name="T7" fmla="*/ 0 h 113"/>
                <a:gd name="T8" fmla="*/ 108 w 108"/>
                <a:gd name="T9" fmla="*/ 7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13">
                  <a:moveTo>
                    <a:pt x="108" y="76"/>
                  </a:moveTo>
                  <a:lnTo>
                    <a:pt x="46" y="113"/>
                  </a:lnTo>
                  <a:lnTo>
                    <a:pt x="0" y="37"/>
                  </a:lnTo>
                  <a:lnTo>
                    <a:pt x="62" y="0"/>
                  </a:lnTo>
                  <a:lnTo>
                    <a:pt x="108" y="76"/>
                  </a:lnTo>
                  <a:close/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" name="Freeform 45"/>
            <p:cNvSpPr/>
            <p:nvPr/>
          </p:nvSpPr>
          <p:spPr bwMode="auto">
            <a:xfrm>
              <a:off x="7131842" y="2045493"/>
              <a:ext cx="541338" cy="279400"/>
            </a:xfrm>
            <a:custGeom>
              <a:avLst/>
              <a:gdLst>
                <a:gd name="T0" fmla="*/ 255 w 341"/>
                <a:gd name="T1" fmla="*/ 83 h 176"/>
                <a:gd name="T2" fmla="*/ 19 w 341"/>
                <a:gd name="T3" fmla="*/ 176 h 176"/>
                <a:gd name="T4" fmla="*/ 0 w 341"/>
                <a:gd name="T5" fmla="*/ 125 h 176"/>
                <a:gd name="T6" fmla="*/ 321 w 341"/>
                <a:gd name="T7" fmla="*/ 0 h 176"/>
                <a:gd name="T8" fmla="*/ 341 w 341"/>
                <a:gd name="T9" fmla="*/ 50 h 176"/>
                <a:gd name="T10" fmla="*/ 301 w 341"/>
                <a:gd name="T11" fmla="*/ 6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176">
                  <a:moveTo>
                    <a:pt x="255" y="83"/>
                  </a:moveTo>
                  <a:lnTo>
                    <a:pt x="19" y="176"/>
                  </a:lnTo>
                  <a:lnTo>
                    <a:pt x="0" y="125"/>
                  </a:lnTo>
                  <a:lnTo>
                    <a:pt x="321" y="0"/>
                  </a:lnTo>
                  <a:lnTo>
                    <a:pt x="341" y="50"/>
                  </a:lnTo>
                  <a:lnTo>
                    <a:pt x="301" y="65"/>
                  </a:lnTo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" name="Line 46"/>
            <p:cNvSpPr>
              <a:spLocks noChangeShapeType="1"/>
            </p:cNvSpPr>
            <p:nvPr/>
          </p:nvSpPr>
          <p:spPr bwMode="auto">
            <a:xfrm>
              <a:off x="7331867" y="2166143"/>
              <a:ext cx="31750" cy="79375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" name="Freeform 47"/>
            <p:cNvSpPr/>
            <p:nvPr/>
          </p:nvSpPr>
          <p:spPr bwMode="auto">
            <a:xfrm>
              <a:off x="7046117" y="2243930"/>
              <a:ext cx="115888" cy="80963"/>
            </a:xfrm>
            <a:custGeom>
              <a:avLst/>
              <a:gdLst>
                <a:gd name="T0" fmla="*/ 54 w 73"/>
                <a:gd name="T1" fmla="*/ 0 h 51"/>
                <a:gd name="T2" fmla="*/ 0 w 73"/>
                <a:gd name="T3" fmla="*/ 51 h 51"/>
                <a:gd name="T4" fmla="*/ 73 w 73"/>
                <a:gd name="T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51">
                  <a:moveTo>
                    <a:pt x="54" y="0"/>
                  </a:moveTo>
                  <a:lnTo>
                    <a:pt x="0" y="51"/>
                  </a:lnTo>
                  <a:lnTo>
                    <a:pt x="73" y="51"/>
                  </a:lnTo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16" name="标题 1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695325" y="1"/>
            <a:ext cx="10801350" cy="101599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Rectangle 9674"/>
          <p:cNvSpPr>
            <a:spLocks noChangeArrowheads="1"/>
          </p:cNvSpPr>
          <p:nvPr/>
        </p:nvSpPr>
        <p:spPr bwMode="auto">
          <a:xfrm>
            <a:off x="-1588" y="0"/>
            <a:ext cx="12193588" cy="69135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695325" y="4248150"/>
            <a:ext cx="10801350" cy="1118955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53" name="文本占位符 62"/>
          <p:cNvSpPr>
            <a:spLocks noGrp="1"/>
          </p:cNvSpPr>
          <p:nvPr>
            <p:ph type="body" sz="quarter" idx="17" hasCustomPrompt="1"/>
          </p:nvPr>
        </p:nvSpPr>
        <p:spPr>
          <a:xfrm>
            <a:off x="695325" y="5433780"/>
            <a:ext cx="1080135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6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54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95325" y="5749414"/>
            <a:ext cx="1080135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6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81" name="组合 280"/>
          <p:cNvGrpSpPr/>
          <p:nvPr userDrawn="1"/>
        </p:nvGrpSpPr>
        <p:grpSpPr>
          <a:xfrm>
            <a:off x="2405063" y="1201738"/>
            <a:ext cx="7397750" cy="2524125"/>
            <a:chOff x="2405063" y="1201738"/>
            <a:chExt cx="7397750" cy="2524125"/>
          </a:xfrm>
        </p:grpSpPr>
        <p:sp>
          <p:nvSpPr>
            <p:cNvPr id="14" name="Freeform 5"/>
            <p:cNvSpPr/>
            <p:nvPr userDrawn="1"/>
          </p:nvSpPr>
          <p:spPr bwMode="auto">
            <a:xfrm>
              <a:off x="5815013" y="1671638"/>
              <a:ext cx="463550" cy="284163"/>
            </a:xfrm>
            <a:custGeom>
              <a:avLst/>
              <a:gdLst>
                <a:gd name="T0" fmla="*/ 0 w 318"/>
                <a:gd name="T1" fmla="*/ 195 h 195"/>
                <a:gd name="T2" fmla="*/ 318 w 318"/>
                <a:gd name="T3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18" h="195">
                  <a:moveTo>
                    <a:pt x="0" y="195"/>
                  </a:moveTo>
                  <a:cubicBezTo>
                    <a:pt x="47" y="67"/>
                    <a:pt x="190" y="0"/>
                    <a:pt x="318" y="47"/>
                  </a:cubicBez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" name="Freeform 6"/>
            <p:cNvSpPr/>
            <p:nvPr userDrawn="1"/>
          </p:nvSpPr>
          <p:spPr bwMode="auto">
            <a:xfrm>
              <a:off x="5892800" y="1763713"/>
              <a:ext cx="358775" cy="220663"/>
            </a:xfrm>
            <a:custGeom>
              <a:avLst/>
              <a:gdLst>
                <a:gd name="T0" fmla="*/ 0 w 246"/>
                <a:gd name="T1" fmla="*/ 151 h 151"/>
                <a:gd name="T2" fmla="*/ 246 w 246"/>
                <a:gd name="T3" fmla="*/ 36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6" h="151">
                  <a:moveTo>
                    <a:pt x="0" y="151"/>
                  </a:moveTo>
                  <a:cubicBezTo>
                    <a:pt x="36" y="52"/>
                    <a:pt x="146" y="0"/>
                    <a:pt x="246" y="36"/>
                  </a:cubicBez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Freeform 7"/>
            <p:cNvSpPr/>
            <p:nvPr userDrawn="1"/>
          </p:nvSpPr>
          <p:spPr bwMode="auto">
            <a:xfrm>
              <a:off x="5972175" y="1858963"/>
              <a:ext cx="250825" cy="153988"/>
            </a:xfrm>
            <a:custGeom>
              <a:avLst/>
              <a:gdLst>
                <a:gd name="T0" fmla="*/ 0 w 173"/>
                <a:gd name="T1" fmla="*/ 106 h 106"/>
                <a:gd name="T2" fmla="*/ 173 w 173"/>
                <a:gd name="T3" fmla="*/ 2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3" h="106">
                  <a:moveTo>
                    <a:pt x="0" y="106"/>
                  </a:moveTo>
                  <a:cubicBezTo>
                    <a:pt x="25" y="36"/>
                    <a:pt x="103" y="0"/>
                    <a:pt x="173" y="25"/>
                  </a:cubicBez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Freeform 8"/>
            <p:cNvSpPr/>
            <p:nvPr userDrawn="1"/>
          </p:nvSpPr>
          <p:spPr bwMode="auto">
            <a:xfrm>
              <a:off x="6084888" y="1993900"/>
              <a:ext cx="117475" cy="119063"/>
            </a:xfrm>
            <a:custGeom>
              <a:avLst/>
              <a:gdLst>
                <a:gd name="T0" fmla="*/ 72 w 80"/>
                <a:gd name="T1" fmla="*/ 26 h 81"/>
                <a:gd name="T2" fmla="*/ 25 w 80"/>
                <a:gd name="T3" fmla="*/ 8 h 81"/>
                <a:gd name="T4" fmla="*/ 8 w 80"/>
                <a:gd name="T5" fmla="*/ 55 h 81"/>
                <a:gd name="T6" fmla="*/ 55 w 80"/>
                <a:gd name="T7" fmla="*/ 73 h 81"/>
                <a:gd name="T8" fmla="*/ 72 w 80"/>
                <a:gd name="T9" fmla="*/ 2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81">
                  <a:moveTo>
                    <a:pt x="72" y="26"/>
                  </a:moveTo>
                  <a:cubicBezTo>
                    <a:pt x="64" y="8"/>
                    <a:pt x="43" y="0"/>
                    <a:pt x="25" y="8"/>
                  </a:cubicBezTo>
                  <a:cubicBezTo>
                    <a:pt x="7" y="17"/>
                    <a:pt x="0" y="38"/>
                    <a:pt x="8" y="55"/>
                  </a:cubicBezTo>
                  <a:cubicBezTo>
                    <a:pt x="16" y="73"/>
                    <a:pt x="37" y="81"/>
                    <a:pt x="55" y="73"/>
                  </a:cubicBezTo>
                  <a:cubicBezTo>
                    <a:pt x="73" y="64"/>
                    <a:pt x="80" y="43"/>
                    <a:pt x="72" y="26"/>
                  </a:cubicBez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" name="Freeform 9"/>
            <p:cNvSpPr/>
            <p:nvPr userDrawn="1"/>
          </p:nvSpPr>
          <p:spPr bwMode="auto">
            <a:xfrm>
              <a:off x="3705225" y="3251200"/>
              <a:ext cx="417513" cy="419100"/>
            </a:xfrm>
            <a:custGeom>
              <a:avLst/>
              <a:gdLst>
                <a:gd name="T0" fmla="*/ 190 w 286"/>
                <a:gd name="T1" fmla="*/ 233 h 287"/>
                <a:gd name="T2" fmla="*/ 249 w 286"/>
                <a:gd name="T3" fmla="*/ 173 h 287"/>
                <a:gd name="T4" fmla="*/ 247 w 286"/>
                <a:gd name="T5" fmla="*/ 37 h 287"/>
                <a:gd name="T6" fmla="*/ 112 w 286"/>
                <a:gd name="T7" fmla="*/ 38 h 287"/>
                <a:gd name="T8" fmla="*/ 22 w 286"/>
                <a:gd name="T9" fmla="*/ 130 h 287"/>
                <a:gd name="T10" fmla="*/ 23 w 286"/>
                <a:gd name="T11" fmla="*/ 209 h 287"/>
                <a:gd name="T12" fmla="*/ 80 w 286"/>
                <a:gd name="T13" fmla="*/ 265 h 287"/>
                <a:gd name="T14" fmla="*/ 159 w 286"/>
                <a:gd name="T15" fmla="*/ 264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6" h="287">
                  <a:moveTo>
                    <a:pt x="190" y="233"/>
                  </a:moveTo>
                  <a:cubicBezTo>
                    <a:pt x="249" y="173"/>
                    <a:pt x="249" y="173"/>
                    <a:pt x="249" y="173"/>
                  </a:cubicBezTo>
                  <a:cubicBezTo>
                    <a:pt x="286" y="135"/>
                    <a:pt x="285" y="74"/>
                    <a:pt x="247" y="37"/>
                  </a:cubicBezTo>
                  <a:cubicBezTo>
                    <a:pt x="209" y="0"/>
                    <a:pt x="149" y="0"/>
                    <a:pt x="112" y="38"/>
                  </a:cubicBezTo>
                  <a:cubicBezTo>
                    <a:pt x="22" y="130"/>
                    <a:pt x="22" y="130"/>
                    <a:pt x="22" y="130"/>
                  </a:cubicBezTo>
                  <a:cubicBezTo>
                    <a:pt x="0" y="152"/>
                    <a:pt x="1" y="187"/>
                    <a:pt x="23" y="209"/>
                  </a:cubicBezTo>
                  <a:cubicBezTo>
                    <a:pt x="80" y="265"/>
                    <a:pt x="80" y="265"/>
                    <a:pt x="80" y="265"/>
                  </a:cubicBezTo>
                  <a:cubicBezTo>
                    <a:pt x="102" y="287"/>
                    <a:pt x="138" y="286"/>
                    <a:pt x="159" y="264"/>
                  </a:cubicBez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" name="Freeform 10"/>
            <p:cNvSpPr/>
            <p:nvPr userDrawn="1"/>
          </p:nvSpPr>
          <p:spPr bwMode="auto">
            <a:xfrm>
              <a:off x="3970338" y="3073400"/>
              <a:ext cx="744538" cy="328613"/>
            </a:xfrm>
            <a:custGeom>
              <a:avLst/>
              <a:gdLst>
                <a:gd name="T0" fmla="*/ 0 w 510"/>
                <a:gd name="T1" fmla="*/ 226 h 226"/>
                <a:gd name="T2" fmla="*/ 65 w 510"/>
                <a:gd name="T3" fmla="*/ 159 h 226"/>
                <a:gd name="T4" fmla="*/ 99 w 510"/>
                <a:gd name="T5" fmla="*/ 126 h 226"/>
                <a:gd name="T6" fmla="*/ 266 w 510"/>
                <a:gd name="T7" fmla="*/ 113 h 226"/>
                <a:gd name="T8" fmla="*/ 266 w 510"/>
                <a:gd name="T9" fmla="*/ 113 h 226"/>
                <a:gd name="T10" fmla="*/ 446 w 510"/>
                <a:gd name="T11" fmla="*/ 84 h 226"/>
                <a:gd name="T12" fmla="*/ 510 w 510"/>
                <a:gd name="T13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226">
                  <a:moveTo>
                    <a:pt x="0" y="226"/>
                  </a:moveTo>
                  <a:cubicBezTo>
                    <a:pt x="65" y="159"/>
                    <a:pt x="65" y="159"/>
                    <a:pt x="65" y="159"/>
                  </a:cubicBezTo>
                  <a:cubicBezTo>
                    <a:pt x="99" y="126"/>
                    <a:pt x="99" y="126"/>
                    <a:pt x="99" y="126"/>
                  </a:cubicBezTo>
                  <a:cubicBezTo>
                    <a:pt x="144" y="82"/>
                    <a:pt x="214" y="76"/>
                    <a:pt x="266" y="113"/>
                  </a:cubicBezTo>
                  <a:cubicBezTo>
                    <a:pt x="266" y="113"/>
                    <a:pt x="266" y="113"/>
                    <a:pt x="266" y="113"/>
                  </a:cubicBezTo>
                  <a:cubicBezTo>
                    <a:pt x="324" y="153"/>
                    <a:pt x="403" y="140"/>
                    <a:pt x="446" y="84"/>
                  </a:cubicBezTo>
                  <a:cubicBezTo>
                    <a:pt x="510" y="0"/>
                    <a:pt x="510" y="0"/>
                    <a:pt x="510" y="0"/>
                  </a:cubicBez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Freeform 11"/>
            <p:cNvSpPr/>
            <p:nvPr userDrawn="1"/>
          </p:nvSpPr>
          <p:spPr bwMode="auto">
            <a:xfrm>
              <a:off x="3833813" y="3343275"/>
              <a:ext cx="200025" cy="195263"/>
            </a:xfrm>
            <a:custGeom>
              <a:avLst/>
              <a:gdLst>
                <a:gd name="T0" fmla="*/ 0 w 137"/>
                <a:gd name="T1" fmla="*/ 0 h 134"/>
                <a:gd name="T2" fmla="*/ 137 w 137"/>
                <a:gd name="T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7" h="134">
                  <a:moveTo>
                    <a:pt x="0" y="0"/>
                  </a:moveTo>
                  <a:cubicBezTo>
                    <a:pt x="2" y="2"/>
                    <a:pt x="137" y="134"/>
                    <a:pt x="137" y="134"/>
                  </a:cubicBez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Freeform 12"/>
            <p:cNvSpPr/>
            <p:nvPr userDrawn="1"/>
          </p:nvSpPr>
          <p:spPr bwMode="auto">
            <a:xfrm>
              <a:off x="3978275" y="1624013"/>
              <a:ext cx="1622425" cy="1295400"/>
            </a:xfrm>
            <a:custGeom>
              <a:avLst/>
              <a:gdLst>
                <a:gd name="T0" fmla="*/ 1089 w 1113"/>
                <a:gd name="T1" fmla="*/ 554 h 888"/>
                <a:gd name="T2" fmla="*/ 1113 w 1113"/>
                <a:gd name="T3" fmla="*/ 649 h 888"/>
                <a:gd name="T4" fmla="*/ 155 w 1113"/>
                <a:gd name="T5" fmla="*/ 888 h 888"/>
                <a:gd name="T6" fmla="*/ 13 w 1113"/>
                <a:gd name="T7" fmla="*/ 319 h 888"/>
                <a:gd name="T8" fmla="*/ 80 w 1113"/>
                <a:gd name="T9" fmla="*/ 207 h 888"/>
                <a:gd name="T10" fmla="*/ 859 w 1113"/>
                <a:gd name="T11" fmla="*/ 12 h 888"/>
                <a:gd name="T12" fmla="*/ 971 w 1113"/>
                <a:gd name="T13" fmla="*/ 80 h 888"/>
                <a:gd name="T14" fmla="*/ 1066 w 1113"/>
                <a:gd name="T15" fmla="*/ 460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3" h="888">
                  <a:moveTo>
                    <a:pt x="1089" y="554"/>
                  </a:moveTo>
                  <a:cubicBezTo>
                    <a:pt x="1113" y="649"/>
                    <a:pt x="1113" y="649"/>
                    <a:pt x="1113" y="649"/>
                  </a:cubicBezTo>
                  <a:cubicBezTo>
                    <a:pt x="155" y="888"/>
                    <a:pt x="155" y="888"/>
                    <a:pt x="155" y="888"/>
                  </a:cubicBezTo>
                  <a:cubicBezTo>
                    <a:pt x="13" y="319"/>
                    <a:pt x="13" y="319"/>
                    <a:pt x="13" y="319"/>
                  </a:cubicBezTo>
                  <a:cubicBezTo>
                    <a:pt x="0" y="269"/>
                    <a:pt x="30" y="219"/>
                    <a:pt x="80" y="207"/>
                  </a:cubicBezTo>
                  <a:cubicBezTo>
                    <a:pt x="859" y="12"/>
                    <a:pt x="859" y="12"/>
                    <a:pt x="859" y="12"/>
                  </a:cubicBezTo>
                  <a:cubicBezTo>
                    <a:pt x="908" y="0"/>
                    <a:pt x="959" y="30"/>
                    <a:pt x="971" y="80"/>
                  </a:cubicBezTo>
                  <a:cubicBezTo>
                    <a:pt x="1066" y="460"/>
                    <a:pt x="1066" y="460"/>
                    <a:pt x="1066" y="460"/>
                  </a:cubicBez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Freeform 13"/>
            <p:cNvSpPr/>
            <p:nvPr userDrawn="1"/>
          </p:nvSpPr>
          <p:spPr bwMode="auto">
            <a:xfrm>
              <a:off x="4089400" y="1739900"/>
              <a:ext cx="1385888" cy="1019175"/>
            </a:xfrm>
            <a:custGeom>
              <a:avLst/>
              <a:gdLst>
                <a:gd name="T0" fmla="*/ 929 w 951"/>
                <a:gd name="T1" fmla="*/ 401 h 698"/>
                <a:gd name="T2" fmla="*/ 951 w 951"/>
                <a:gd name="T3" fmla="*/ 490 h 698"/>
                <a:gd name="T4" fmla="*/ 118 w 951"/>
                <a:gd name="T5" fmla="*/ 698 h 698"/>
                <a:gd name="T6" fmla="*/ 7 w 951"/>
                <a:gd name="T7" fmla="*/ 255 h 698"/>
                <a:gd name="T8" fmla="*/ 46 w 951"/>
                <a:gd name="T9" fmla="*/ 189 h 698"/>
                <a:gd name="T10" fmla="*/ 775 w 951"/>
                <a:gd name="T11" fmla="*/ 8 h 698"/>
                <a:gd name="T12" fmla="*/ 840 w 951"/>
                <a:gd name="T13" fmla="*/ 47 h 698"/>
                <a:gd name="T14" fmla="*/ 929 w 951"/>
                <a:gd name="T15" fmla="*/ 401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1" h="698">
                  <a:moveTo>
                    <a:pt x="929" y="401"/>
                  </a:moveTo>
                  <a:cubicBezTo>
                    <a:pt x="951" y="490"/>
                    <a:pt x="951" y="490"/>
                    <a:pt x="951" y="490"/>
                  </a:cubicBezTo>
                  <a:cubicBezTo>
                    <a:pt x="118" y="698"/>
                    <a:pt x="118" y="698"/>
                    <a:pt x="118" y="698"/>
                  </a:cubicBezTo>
                  <a:cubicBezTo>
                    <a:pt x="7" y="255"/>
                    <a:pt x="7" y="255"/>
                    <a:pt x="7" y="255"/>
                  </a:cubicBezTo>
                  <a:cubicBezTo>
                    <a:pt x="0" y="226"/>
                    <a:pt x="17" y="197"/>
                    <a:pt x="46" y="189"/>
                  </a:cubicBezTo>
                  <a:cubicBezTo>
                    <a:pt x="775" y="8"/>
                    <a:pt x="775" y="8"/>
                    <a:pt x="775" y="8"/>
                  </a:cubicBezTo>
                  <a:cubicBezTo>
                    <a:pt x="804" y="0"/>
                    <a:pt x="833" y="18"/>
                    <a:pt x="840" y="47"/>
                  </a:cubicBezTo>
                  <a:cubicBezTo>
                    <a:pt x="929" y="401"/>
                    <a:pt x="929" y="401"/>
                    <a:pt x="929" y="401"/>
                  </a:cubicBez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Freeform 14"/>
            <p:cNvSpPr/>
            <p:nvPr userDrawn="1"/>
          </p:nvSpPr>
          <p:spPr bwMode="auto">
            <a:xfrm>
              <a:off x="4683125" y="2790825"/>
              <a:ext cx="519113" cy="234950"/>
            </a:xfrm>
            <a:custGeom>
              <a:avLst/>
              <a:gdLst>
                <a:gd name="T0" fmla="*/ 327 w 327"/>
                <a:gd name="T1" fmla="*/ 71 h 148"/>
                <a:gd name="T2" fmla="*/ 18 w 327"/>
                <a:gd name="T3" fmla="*/ 148 h 148"/>
                <a:gd name="T4" fmla="*/ 0 w 327"/>
                <a:gd name="T5" fmla="*/ 77 h 148"/>
                <a:gd name="T6" fmla="*/ 310 w 327"/>
                <a:gd name="T7" fmla="*/ 0 h 148"/>
                <a:gd name="T8" fmla="*/ 327 w 327"/>
                <a:gd name="T9" fmla="*/ 7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7" h="148">
                  <a:moveTo>
                    <a:pt x="327" y="71"/>
                  </a:moveTo>
                  <a:lnTo>
                    <a:pt x="18" y="148"/>
                  </a:lnTo>
                  <a:lnTo>
                    <a:pt x="0" y="77"/>
                  </a:lnTo>
                  <a:lnTo>
                    <a:pt x="310" y="0"/>
                  </a:lnTo>
                  <a:lnTo>
                    <a:pt x="327" y="71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Freeform 15"/>
            <p:cNvSpPr/>
            <p:nvPr userDrawn="1"/>
          </p:nvSpPr>
          <p:spPr bwMode="auto">
            <a:xfrm>
              <a:off x="4775200" y="2713038"/>
              <a:ext cx="280988" cy="171450"/>
            </a:xfrm>
            <a:custGeom>
              <a:avLst/>
              <a:gdLst>
                <a:gd name="T0" fmla="*/ 177 w 177"/>
                <a:gd name="T1" fmla="*/ 68 h 108"/>
                <a:gd name="T2" fmla="*/ 18 w 177"/>
                <a:gd name="T3" fmla="*/ 108 h 108"/>
                <a:gd name="T4" fmla="*/ 0 w 177"/>
                <a:gd name="T5" fmla="*/ 40 h 108"/>
                <a:gd name="T6" fmla="*/ 159 w 177"/>
                <a:gd name="T7" fmla="*/ 0 h 108"/>
                <a:gd name="T8" fmla="*/ 177 w 177"/>
                <a:gd name="T9" fmla="*/ 6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108">
                  <a:moveTo>
                    <a:pt x="177" y="68"/>
                  </a:moveTo>
                  <a:lnTo>
                    <a:pt x="18" y="108"/>
                  </a:lnTo>
                  <a:lnTo>
                    <a:pt x="0" y="40"/>
                  </a:lnTo>
                  <a:lnTo>
                    <a:pt x="159" y="0"/>
                  </a:lnTo>
                  <a:lnTo>
                    <a:pt x="177" y="68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Freeform 16"/>
            <p:cNvSpPr/>
            <p:nvPr userDrawn="1"/>
          </p:nvSpPr>
          <p:spPr bwMode="auto">
            <a:xfrm>
              <a:off x="4332288" y="2089150"/>
              <a:ext cx="971550" cy="517525"/>
            </a:xfrm>
            <a:custGeom>
              <a:avLst/>
              <a:gdLst>
                <a:gd name="T0" fmla="*/ 0 w 612"/>
                <a:gd name="T1" fmla="*/ 326 h 326"/>
                <a:gd name="T2" fmla="*/ 126 w 612"/>
                <a:gd name="T3" fmla="*/ 31 h 326"/>
                <a:gd name="T4" fmla="*/ 319 w 612"/>
                <a:gd name="T5" fmla="*/ 130 h 326"/>
                <a:gd name="T6" fmla="*/ 367 w 612"/>
                <a:gd name="T7" fmla="*/ 0 h 326"/>
                <a:gd name="T8" fmla="*/ 612 w 612"/>
                <a:gd name="T9" fmla="*/ 14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2" h="326">
                  <a:moveTo>
                    <a:pt x="0" y="326"/>
                  </a:moveTo>
                  <a:lnTo>
                    <a:pt x="126" y="31"/>
                  </a:lnTo>
                  <a:lnTo>
                    <a:pt x="319" y="130"/>
                  </a:lnTo>
                  <a:lnTo>
                    <a:pt x="367" y="0"/>
                  </a:lnTo>
                  <a:lnTo>
                    <a:pt x="612" y="146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Freeform 17"/>
            <p:cNvSpPr/>
            <p:nvPr userDrawn="1"/>
          </p:nvSpPr>
          <p:spPr bwMode="auto">
            <a:xfrm>
              <a:off x="5289550" y="2863850"/>
              <a:ext cx="933450" cy="862013"/>
            </a:xfrm>
            <a:custGeom>
              <a:avLst/>
              <a:gdLst>
                <a:gd name="T0" fmla="*/ 461 w 588"/>
                <a:gd name="T1" fmla="*/ 507 h 543"/>
                <a:gd name="T2" fmla="*/ 433 w 588"/>
                <a:gd name="T3" fmla="*/ 543 h 543"/>
                <a:gd name="T4" fmla="*/ 0 w 588"/>
                <a:gd name="T5" fmla="*/ 195 h 543"/>
                <a:gd name="T6" fmla="*/ 156 w 588"/>
                <a:gd name="T7" fmla="*/ 0 h 543"/>
                <a:gd name="T8" fmla="*/ 588 w 588"/>
                <a:gd name="T9" fmla="*/ 348 h 543"/>
                <a:gd name="T10" fmla="*/ 486 w 588"/>
                <a:gd name="T11" fmla="*/ 476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8" h="543">
                  <a:moveTo>
                    <a:pt x="461" y="507"/>
                  </a:moveTo>
                  <a:lnTo>
                    <a:pt x="433" y="543"/>
                  </a:lnTo>
                  <a:lnTo>
                    <a:pt x="0" y="195"/>
                  </a:lnTo>
                  <a:lnTo>
                    <a:pt x="156" y="0"/>
                  </a:lnTo>
                  <a:lnTo>
                    <a:pt x="588" y="348"/>
                  </a:lnTo>
                  <a:lnTo>
                    <a:pt x="486" y="476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" name="Freeform 18"/>
            <p:cNvSpPr/>
            <p:nvPr userDrawn="1"/>
          </p:nvSpPr>
          <p:spPr bwMode="auto">
            <a:xfrm>
              <a:off x="5289550" y="2921000"/>
              <a:ext cx="889000" cy="804863"/>
            </a:xfrm>
            <a:custGeom>
              <a:avLst/>
              <a:gdLst>
                <a:gd name="T0" fmla="*/ 461 w 560"/>
                <a:gd name="T1" fmla="*/ 471 h 507"/>
                <a:gd name="T2" fmla="*/ 433 w 560"/>
                <a:gd name="T3" fmla="*/ 507 h 507"/>
                <a:gd name="T4" fmla="*/ 0 w 560"/>
                <a:gd name="T5" fmla="*/ 159 h 507"/>
                <a:gd name="T6" fmla="*/ 127 w 560"/>
                <a:gd name="T7" fmla="*/ 0 h 507"/>
                <a:gd name="T8" fmla="*/ 560 w 560"/>
                <a:gd name="T9" fmla="*/ 348 h 507"/>
                <a:gd name="T10" fmla="*/ 494 w 560"/>
                <a:gd name="T11" fmla="*/ 43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0" h="507">
                  <a:moveTo>
                    <a:pt x="461" y="471"/>
                  </a:moveTo>
                  <a:lnTo>
                    <a:pt x="433" y="507"/>
                  </a:lnTo>
                  <a:lnTo>
                    <a:pt x="0" y="159"/>
                  </a:lnTo>
                  <a:lnTo>
                    <a:pt x="127" y="0"/>
                  </a:lnTo>
                  <a:lnTo>
                    <a:pt x="560" y="348"/>
                  </a:lnTo>
                  <a:lnTo>
                    <a:pt x="494" y="430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" name="Freeform 19"/>
            <p:cNvSpPr/>
            <p:nvPr userDrawn="1"/>
          </p:nvSpPr>
          <p:spPr bwMode="auto">
            <a:xfrm>
              <a:off x="5659438" y="2628900"/>
              <a:ext cx="708025" cy="687388"/>
            </a:xfrm>
            <a:custGeom>
              <a:avLst/>
              <a:gdLst>
                <a:gd name="T0" fmla="*/ 278 w 446"/>
                <a:gd name="T1" fmla="*/ 433 h 433"/>
                <a:gd name="T2" fmla="*/ 0 w 446"/>
                <a:gd name="T3" fmla="*/ 211 h 433"/>
                <a:gd name="T4" fmla="*/ 169 w 446"/>
                <a:gd name="T5" fmla="*/ 0 h 433"/>
                <a:gd name="T6" fmla="*/ 446 w 446"/>
                <a:gd name="T7" fmla="*/ 224 h 433"/>
                <a:gd name="T8" fmla="*/ 278 w 446"/>
                <a:gd name="T9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6" h="433">
                  <a:moveTo>
                    <a:pt x="278" y="433"/>
                  </a:moveTo>
                  <a:lnTo>
                    <a:pt x="0" y="211"/>
                  </a:lnTo>
                  <a:lnTo>
                    <a:pt x="169" y="0"/>
                  </a:lnTo>
                  <a:lnTo>
                    <a:pt x="446" y="224"/>
                  </a:lnTo>
                  <a:lnTo>
                    <a:pt x="278" y="433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" name="Freeform 20"/>
            <p:cNvSpPr/>
            <p:nvPr userDrawn="1"/>
          </p:nvSpPr>
          <p:spPr bwMode="auto">
            <a:xfrm>
              <a:off x="5580063" y="2806700"/>
              <a:ext cx="153988" cy="157163"/>
            </a:xfrm>
            <a:custGeom>
              <a:avLst/>
              <a:gdLst>
                <a:gd name="T0" fmla="*/ 50 w 97"/>
                <a:gd name="T1" fmla="*/ 99 h 99"/>
                <a:gd name="T2" fmla="*/ 0 w 97"/>
                <a:gd name="T3" fmla="*/ 58 h 99"/>
                <a:gd name="T4" fmla="*/ 46 w 97"/>
                <a:gd name="T5" fmla="*/ 0 h 99"/>
                <a:gd name="T6" fmla="*/ 97 w 97"/>
                <a:gd name="T7" fmla="*/ 41 h 99"/>
                <a:gd name="T8" fmla="*/ 50 w 97"/>
                <a:gd name="T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99">
                  <a:moveTo>
                    <a:pt x="50" y="99"/>
                  </a:moveTo>
                  <a:lnTo>
                    <a:pt x="0" y="58"/>
                  </a:lnTo>
                  <a:lnTo>
                    <a:pt x="46" y="0"/>
                  </a:lnTo>
                  <a:lnTo>
                    <a:pt x="97" y="41"/>
                  </a:lnTo>
                  <a:lnTo>
                    <a:pt x="50" y="99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Freeform 21"/>
            <p:cNvSpPr/>
            <p:nvPr userDrawn="1"/>
          </p:nvSpPr>
          <p:spPr bwMode="auto">
            <a:xfrm>
              <a:off x="6100763" y="3224213"/>
              <a:ext cx="153988" cy="157163"/>
            </a:xfrm>
            <a:custGeom>
              <a:avLst/>
              <a:gdLst>
                <a:gd name="T0" fmla="*/ 50 w 97"/>
                <a:gd name="T1" fmla="*/ 99 h 99"/>
                <a:gd name="T2" fmla="*/ 0 w 97"/>
                <a:gd name="T3" fmla="*/ 58 h 99"/>
                <a:gd name="T4" fmla="*/ 47 w 97"/>
                <a:gd name="T5" fmla="*/ 0 h 99"/>
                <a:gd name="T6" fmla="*/ 97 w 97"/>
                <a:gd name="T7" fmla="*/ 41 h 99"/>
                <a:gd name="T8" fmla="*/ 50 w 97"/>
                <a:gd name="T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99">
                  <a:moveTo>
                    <a:pt x="50" y="99"/>
                  </a:moveTo>
                  <a:lnTo>
                    <a:pt x="0" y="58"/>
                  </a:lnTo>
                  <a:lnTo>
                    <a:pt x="47" y="0"/>
                  </a:lnTo>
                  <a:lnTo>
                    <a:pt x="97" y="41"/>
                  </a:lnTo>
                  <a:lnTo>
                    <a:pt x="50" y="99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Line 22"/>
            <p:cNvSpPr>
              <a:spLocks noChangeShapeType="1"/>
            </p:cNvSpPr>
            <p:nvPr userDrawn="1"/>
          </p:nvSpPr>
          <p:spPr bwMode="auto">
            <a:xfrm>
              <a:off x="5942013" y="2749550"/>
              <a:ext cx="311150" cy="250825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8" name="Line 23"/>
            <p:cNvSpPr>
              <a:spLocks noChangeShapeType="1"/>
            </p:cNvSpPr>
            <p:nvPr userDrawn="1"/>
          </p:nvSpPr>
          <p:spPr bwMode="auto">
            <a:xfrm>
              <a:off x="5864225" y="2844800"/>
              <a:ext cx="312738" cy="249238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9" name="Line 24"/>
            <p:cNvSpPr>
              <a:spLocks noChangeShapeType="1"/>
            </p:cNvSpPr>
            <p:nvPr userDrawn="1"/>
          </p:nvSpPr>
          <p:spPr bwMode="auto">
            <a:xfrm>
              <a:off x="5789613" y="2940050"/>
              <a:ext cx="311150" cy="250825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0" name="Line 25"/>
            <p:cNvSpPr>
              <a:spLocks noChangeShapeType="1"/>
            </p:cNvSpPr>
            <p:nvPr userDrawn="1"/>
          </p:nvSpPr>
          <p:spPr bwMode="auto">
            <a:xfrm flipH="1">
              <a:off x="4926013" y="3370263"/>
              <a:ext cx="76200" cy="77788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1" name="Line 26"/>
            <p:cNvSpPr>
              <a:spLocks noChangeShapeType="1"/>
            </p:cNvSpPr>
            <p:nvPr userDrawn="1"/>
          </p:nvSpPr>
          <p:spPr bwMode="auto">
            <a:xfrm flipH="1">
              <a:off x="4745038" y="3551238"/>
              <a:ext cx="76200" cy="7620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2" name="Line 27"/>
            <p:cNvSpPr>
              <a:spLocks noChangeShapeType="1"/>
            </p:cNvSpPr>
            <p:nvPr userDrawn="1"/>
          </p:nvSpPr>
          <p:spPr bwMode="auto">
            <a:xfrm>
              <a:off x="4745038" y="3370263"/>
              <a:ext cx="76200" cy="77788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3" name="Line 28"/>
            <p:cNvSpPr>
              <a:spLocks noChangeShapeType="1"/>
            </p:cNvSpPr>
            <p:nvPr userDrawn="1"/>
          </p:nvSpPr>
          <p:spPr bwMode="auto">
            <a:xfrm>
              <a:off x="4926013" y="3551238"/>
              <a:ext cx="76200" cy="7620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4" name="Line 29"/>
            <p:cNvSpPr>
              <a:spLocks noChangeShapeType="1"/>
            </p:cNvSpPr>
            <p:nvPr userDrawn="1"/>
          </p:nvSpPr>
          <p:spPr bwMode="auto">
            <a:xfrm flipH="1">
              <a:off x="2824163" y="2967038"/>
              <a:ext cx="77788" cy="7620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5" name="Line 30"/>
            <p:cNvSpPr>
              <a:spLocks noChangeShapeType="1"/>
            </p:cNvSpPr>
            <p:nvPr userDrawn="1"/>
          </p:nvSpPr>
          <p:spPr bwMode="auto">
            <a:xfrm flipH="1">
              <a:off x="2644775" y="3148013"/>
              <a:ext cx="76200" cy="74613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6" name="Line 31"/>
            <p:cNvSpPr>
              <a:spLocks noChangeShapeType="1"/>
            </p:cNvSpPr>
            <p:nvPr userDrawn="1"/>
          </p:nvSpPr>
          <p:spPr bwMode="auto">
            <a:xfrm>
              <a:off x="2644775" y="2967038"/>
              <a:ext cx="76200" cy="7620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7" name="Line 32"/>
            <p:cNvSpPr>
              <a:spLocks noChangeShapeType="1"/>
            </p:cNvSpPr>
            <p:nvPr userDrawn="1"/>
          </p:nvSpPr>
          <p:spPr bwMode="auto">
            <a:xfrm>
              <a:off x="2824163" y="3148013"/>
              <a:ext cx="77788" cy="74613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8" name="Line 33"/>
            <p:cNvSpPr>
              <a:spLocks noChangeShapeType="1"/>
            </p:cNvSpPr>
            <p:nvPr userDrawn="1"/>
          </p:nvSpPr>
          <p:spPr bwMode="auto">
            <a:xfrm flipH="1">
              <a:off x="9728200" y="2589213"/>
              <a:ext cx="74613" cy="77788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9" name="Line 34"/>
            <p:cNvSpPr>
              <a:spLocks noChangeShapeType="1"/>
            </p:cNvSpPr>
            <p:nvPr userDrawn="1"/>
          </p:nvSpPr>
          <p:spPr bwMode="auto">
            <a:xfrm flipH="1">
              <a:off x="9547225" y="2770188"/>
              <a:ext cx="76200" cy="7620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0" name="Line 35"/>
            <p:cNvSpPr>
              <a:spLocks noChangeShapeType="1"/>
            </p:cNvSpPr>
            <p:nvPr userDrawn="1"/>
          </p:nvSpPr>
          <p:spPr bwMode="auto">
            <a:xfrm>
              <a:off x="9547225" y="2589213"/>
              <a:ext cx="76200" cy="77788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1" name="Line 36"/>
            <p:cNvSpPr>
              <a:spLocks noChangeShapeType="1"/>
            </p:cNvSpPr>
            <p:nvPr userDrawn="1"/>
          </p:nvSpPr>
          <p:spPr bwMode="auto">
            <a:xfrm>
              <a:off x="9728200" y="2770188"/>
              <a:ext cx="74613" cy="7620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2" name="Line 37"/>
            <p:cNvSpPr>
              <a:spLocks noChangeShapeType="1"/>
            </p:cNvSpPr>
            <p:nvPr userDrawn="1"/>
          </p:nvSpPr>
          <p:spPr bwMode="auto">
            <a:xfrm flipH="1">
              <a:off x="5354638" y="1201738"/>
              <a:ext cx="76200" cy="7620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3" name="Line 38"/>
            <p:cNvSpPr>
              <a:spLocks noChangeShapeType="1"/>
            </p:cNvSpPr>
            <p:nvPr userDrawn="1"/>
          </p:nvSpPr>
          <p:spPr bwMode="auto">
            <a:xfrm flipH="1">
              <a:off x="5173663" y="1381125"/>
              <a:ext cx="77788" cy="77788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4" name="Line 39"/>
            <p:cNvSpPr>
              <a:spLocks noChangeShapeType="1"/>
            </p:cNvSpPr>
            <p:nvPr userDrawn="1"/>
          </p:nvSpPr>
          <p:spPr bwMode="auto">
            <a:xfrm>
              <a:off x="5173663" y="1201738"/>
              <a:ext cx="77788" cy="7620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5" name="Line 40"/>
            <p:cNvSpPr>
              <a:spLocks noChangeShapeType="1"/>
            </p:cNvSpPr>
            <p:nvPr userDrawn="1"/>
          </p:nvSpPr>
          <p:spPr bwMode="auto">
            <a:xfrm>
              <a:off x="5354638" y="1381125"/>
              <a:ext cx="76200" cy="77788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Oval 41"/>
            <p:cNvSpPr>
              <a:spLocks noChangeArrowheads="1"/>
            </p:cNvSpPr>
            <p:nvPr userDrawn="1"/>
          </p:nvSpPr>
          <p:spPr bwMode="auto">
            <a:xfrm>
              <a:off x="5788025" y="2276475"/>
              <a:ext cx="152400" cy="153988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" name="Freeform 42"/>
            <p:cNvSpPr/>
            <p:nvPr userDrawn="1"/>
          </p:nvSpPr>
          <p:spPr bwMode="auto">
            <a:xfrm>
              <a:off x="3136900" y="2136775"/>
              <a:ext cx="661988" cy="984250"/>
            </a:xfrm>
            <a:custGeom>
              <a:avLst/>
              <a:gdLst>
                <a:gd name="T0" fmla="*/ 300 w 417"/>
                <a:gd name="T1" fmla="*/ 620 h 620"/>
                <a:gd name="T2" fmla="*/ 0 w 417"/>
                <a:gd name="T3" fmla="*/ 557 h 620"/>
                <a:gd name="T4" fmla="*/ 117 w 417"/>
                <a:gd name="T5" fmla="*/ 0 h 620"/>
                <a:gd name="T6" fmla="*/ 417 w 417"/>
                <a:gd name="T7" fmla="*/ 63 h 620"/>
                <a:gd name="T8" fmla="*/ 328 w 417"/>
                <a:gd name="T9" fmla="*/ 489 h 620"/>
                <a:gd name="T10" fmla="*/ 320 w 417"/>
                <a:gd name="T11" fmla="*/ 522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7" h="620">
                  <a:moveTo>
                    <a:pt x="300" y="620"/>
                  </a:moveTo>
                  <a:lnTo>
                    <a:pt x="0" y="557"/>
                  </a:lnTo>
                  <a:lnTo>
                    <a:pt x="117" y="0"/>
                  </a:lnTo>
                  <a:lnTo>
                    <a:pt x="417" y="63"/>
                  </a:lnTo>
                  <a:lnTo>
                    <a:pt x="328" y="489"/>
                  </a:lnTo>
                  <a:lnTo>
                    <a:pt x="320" y="522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Freeform 43"/>
            <p:cNvSpPr/>
            <p:nvPr userDrawn="1"/>
          </p:nvSpPr>
          <p:spPr bwMode="auto">
            <a:xfrm>
              <a:off x="3267075" y="2276475"/>
              <a:ext cx="503238" cy="225425"/>
            </a:xfrm>
            <a:custGeom>
              <a:avLst/>
              <a:gdLst>
                <a:gd name="T0" fmla="*/ 300 w 317"/>
                <a:gd name="T1" fmla="*/ 142 h 142"/>
                <a:gd name="T2" fmla="*/ 0 w 317"/>
                <a:gd name="T3" fmla="*/ 79 h 142"/>
                <a:gd name="T4" fmla="*/ 16 w 317"/>
                <a:gd name="T5" fmla="*/ 0 h 142"/>
                <a:gd name="T6" fmla="*/ 317 w 317"/>
                <a:gd name="T7" fmla="*/ 62 h 142"/>
                <a:gd name="T8" fmla="*/ 300 w 317"/>
                <a:gd name="T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7" h="142">
                  <a:moveTo>
                    <a:pt x="300" y="142"/>
                  </a:moveTo>
                  <a:lnTo>
                    <a:pt x="0" y="79"/>
                  </a:lnTo>
                  <a:lnTo>
                    <a:pt x="16" y="0"/>
                  </a:lnTo>
                  <a:lnTo>
                    <a:pt x="317" y="62"/>
                  </a:lnTo>
                  <a:lnTo>
                    <a:pt x="300" y="142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Line 44"/>
            <p:cNvSpPr>
              <a:spLocks noChangeShapeType="1"/>
            </p:cNvSpPr>
            <p:nvPr userDrawn="1"/>
          </p:nvSpPr>
          <p:spPr bwMode="auto">
            <a:xfrm>
              <a:off x="3332163" y="2349500"/>
              <a:ext cx="371475" cy="77788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Freeform 45"/>
            <p:cNvSpPr/>
            <p:nvPr userDrawn="1"/>
          </p:nvSpPr>
          <p:spPr bwMode="auto">
            <a:xfrm>
              <a:off x="3392488" y="1563688"/>
              <a:ext cx="190500" cy="192088"/>
            </a:xfrm>
            <a:custGeom>
              <a:avLst/>
              <a:gdLst>
                <a:gd name="T0" fmla="*/ 60 w 120"/>
                <a:gd name="T1" fmla="*/ 121 h 121"/>
                <a:gd name="T2" fmla="*/ 0 w 120"/>
                <a:gd name="T3" fmla="*/ 61 h 121"/>
                <a:gd name="T4" fmla="*/ 60 w 120"/>
                <a:gd name="T5" fmla="*/ 0 h 121"/>
                <a:gd name="T6" fmla="*/ 120 w 120"/>
                <a:gd name="T7" fmla="*/ 61 h 121"/>
                <a:gd name="T8" fmla="*/ 60 w 120"/>
                <a:gd name="T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121">
                  <a:moveTo>
                    <a:pt x="60" y="121"/>
                  </a:moveTo>
                  <a:lnTo>
                    <a:pt x="0" y="61"/>
                  </a:lnTo>
                  <a:lnTo>
                    <a:pt x="60" y="0"/>
                  </a:lnTo>
                  <a:lnTo>
                    <a:pt x="120" y="61"/>
                  </a:lnTo>
                  <a:lnTo>
                    <a:pt x="60" y="121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" name="Freeform 46"/>
            <p:cNvSpPr/>
            <p:nvPr userDrawn="1"/>
          </p:nvSpPr>
          <p:spPr bwMode="auto">
            <a:xfrm>
              <a:off x="5721350" y="1497013"/>
              <a:ext cx="190500" cy="192088"/>
            </a:xfrm>
            <a:custGeom>
              <a:avLst/>
              <a:gdLst>
                <a:gd name="T0" fmla="*/ 59 w 120"/>
                <a:gd name="T1" fmla="*/ 121 h 121"/>
                <a:gd name="T2" fmla="*/ 0 w 120"/>
                <a:gd name="T3" fmla="*/ 60 h 121"/>
                <a:gd name="T4" fmla="*/ 59 w 120"/>
                <a:gd name="T5" fmla="*/ 0 h 121"/>
                <a:gd name="T6" fmla="*/ 120 w 120"/>
                <a:gd name="T7" fmla="*/ 60 h 121"/>
                <a:gd name="T8" fmla="*/ 59 w 120"/>
                <a:gd name="T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121">
                  <a:moveTo>
                    <a:pt x="59" y="121"/>
                  </a:moveTo>
                  <a:lnTo>
                    <a:pt x="0" y="60"/>
                  </a:lnTo>
                  <a:lnTo>
                    <a:pt x="59" y="0"/>
                  </a:lnTo>
                  <a:lnTo>
                    <a:pt x="120" y="60"/>
                  </a:lnTo>
                  <a:lnTo>
                    <a:pt x="59" y="121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Freeform 47"/>
            <p:cNvSpPr/>
            <p:nvPr userDrawn="1"/>
          </p:nvSpPr>
          <p:spPr bwMode="auto">
            <a:xfrm>
              <a:off x="2513013" y="3328988"/>
              <a:ext cx="684213" cy="350838"/>
            </a:xfrm>
            <a:custGeom>
              <a:avLst/>
              <a:gdLst>
                <a:gd name="T0" fmla="*/ 322 w 431"/>
                <a:gd name="T1" fmla="*/ 104 h 221"/>
                <a:gd name="T2" fmla="*/ 25 w 431"/>
                <a:gd name="T3" fmla="*/ 221 h 221"/>
                <a:gd name="T4" fmla="*/ 0 w 431"/>
                <a:gd name="T5" fmla="*/ 158 h 221"/>
                <a:gd name="T6" fmla="*/ 406 w 431"/>
                <a:gd name="T7" fmla="*/ 0 h 221"/>
                <a:gd name="T8" fmla="*/ 431 w 431"/>
                <a:gd name="T9" fmla="*/ 62 h 221"/>
                <a:gd name="T10" fmla="*/ 381 w 431"/>
                <a:gd name="T11" fmla="*/ 8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1" h="221">
                  <a:moveTo>
                    <a:pt x="322" y="104"/>
                  </a:moveTo>
                  <a:lnTo>
                    <a:pt x="25" y="221"/>
                  </a:lnTo>
                  <a:lnTo>
                    <a:pt x="0" y="158"/>
                  </a:lnTo>
                  <a:lnTo>
                    <a:pt x="406" y="0"/>
                  </a:lnTo>
                  <a:lnTo>
                    <a:pt x="431" y="62"/>
                  </a:lnTo>
                  <a:lnTo>
                    <a:pt x="381" y="81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Line 48"/>
            <p:cNvSpPr>
              <a:spLocks noChangeShapeType="1"/>
            </p:cNvSpPr>
            <p:nvPr userDrawn="1"/>
          </p:nvSpPr>
          <p:spPr bwMode="auto">
            <a:xfrm>
              <a:off x="2767013" y="3479800"/>
              <a:ext cx="38100" cy="10160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Freeform 49"/>
            <p:cNvSpPr/>
            <p:nvPr userDrawn="1"/>
          </p:nvSpPr>
          <p:spPr bwMode="auto">
            <a:xfrm>
              <a:off x="2405063" y="3579813"/>
              <a:ext cx="147638" cy="100013"/>
            </a:xfrm>
            <a:custGeom>
              <a:avLst/>
              <a:gdLst>
                <a:gd name="T0" fmla="*/ 68 w 93"/>
                <a:gd name="T1" fmla="*/ 0 h 63"/>
                <a:gd name="T2" fmla="*/ 0 w 93"/>
                <a:gd name="T3" fmla="*/ 63 h 63"/>
                <a:gd name="T4" fmla="*/ 93 w 93"/>
                <a:gd name="T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" h="63">
                  <a:moveTo>
                    <a:pt x="68" y="0"/>
                  </a:moveTo>
                  <a:lnTo>
                    <a:pt x="0" y="63"/>
                  </a:lnTo>
                  <a:lnTo>
                    <a:pt x="93" y="63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Freeform 50"/>
            <p:cNvSpPr/>
            <p:nvPr userDrawn="1"/>
          </p:nvSpPr>
          <p:spPr bwMode="auto">
            <a:xfrm>
              <a:off x="7794625" y="3016250"/>
              <a:ext cx="333375" cy="422275"/>
            </a:xfrm>
            <a:custGeom>
              <a:avLst/>
              <a:gdLst>
                <a:gd name="T0" fmla="*/ 211 w 229"/>
                <a:gd name="T1" fmla="*/ 156 h 289"/>
                <a:gd name="T2" fmla="*/ 190 w 229"/>
                <a:gd name="T3" fmla="*/ 78 h 289"/>
                <a:gd name="T4" fmla="*/ 78 w 229"/>
                <a:gd name="T5" fmla="*/ 13 h 289"/>
                <a:gd name="T6" fmla="*/ 12 w 229"/>
                <a:gd name="T7" fmla="*/ 125 h 289"/>
                <a:gd name="T8" fmla="*/ 44 w 229"/>
                <a:gd name="T9" fmla="*/ 244 h 289"/>
                <a:gd name="T10" fmla="*/ 109 w 229"/>
                <a:gd name="T11" fmla="*/ 282 h 289"/>
                <a:gd name="T12" fmla="*/ 184 w 229"/>
                <a:gd name="T13" fmla="*/ 262 h 289"/>
                <a:gd name="T14" fmla="*/ 221 w 229"/>
                <a:gd name="T15" fmla="*/ 197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289">
                  <a:moveTo>
                    <a:pt x="211" y="156"/>
                  </a:moveTo>
                  <a:cubicBezTo>
                    <a:pt x="190" y="78"/>
                    <a:pt x="190" y="78"/>
                    <a:pt x="190" y="78"/>
                  </a:cubicBezTo>
                  <a:cubicBezTo>
                    <a:pt x="177" y="29"/>
                    <a:pt x="127" y="0"/>
                    <a:pt x="78" y="13"/>
                  </a:cubicBezTo>
                  <a:cubicBezTo>
                    <a:pt x="29" y="26"/>
                    <a:pt x="0" y="76"/>
                    <a:pt x="12" y="125"/>
                  </a:cubicBezTo>
                  <a:cubicBezTo>
                    <a:pt x="44" y="244"/>
                    <a:pt x="44" y="244"/>
                    <a:pt x="44" y="244"/>
                  </a:cubicBezTo>
                  <a:cubicBezTo>
                    <a:pt x="51" y="272"/>
                    <a:pt x="80" y="289"/>
                    <a:pt x="109" y="282"/>
                  </a:cubicBezTo>
                  <a:cubicBezTo>
                    <a:pt x="184" y="262"/>
                    <a:pt x="184" y="262"/>
                    <a:pt x="184" y="262"/>
                  </a:cubicBezTo>
                  <a:cubicBezTo>
                    <a:pt x="212" y="255"/>
                    <a:pt x="229" y="225"/>
                    <a:pt x="221" y="197"/>
                  </a:cubicBez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Freeform 51"/>
            <p:cNvSpPr/>
            <p:nvPr userDrawn="1"/>
          </p:nvSpPr>
          <p:spPr bwMode="auto">
            <a:xfrm>
              <a:off x="7872413" y="2387600"/>
              <a:ext cx="255588" cy="773113"/>
            </a:xfrm>
            <a:custGeom>
              <a:avLst/>
              <a:gdLst>
                <a:gd name="T0" fmla="*/ 47 w 175"/>
                <a:gd name="T1" fmla="*/ 529 h 529"/>
                <a:gd name="T2" fmla="*/ 24 w 175"/>
                <a:gd name="T3" fmla="*/ 443 h 529"/>
                <a:gd name="T4" fmla="*/ 14 w 175"/>
                <a:gd name="T5" fmla="*/ 399 h 529"/>
                <a:gd name="T6" fmla="*/ 84 w 175"/>
                <a:gd name="T7" fmla="*/ 256 h 529"/>
                <a:gd name="T8" fmla="*/ 84 w 175"/>
                <a:gd name="T9" fmla="*/ 256 h 529"/>
                <a:gd name="T10" fmla="*/ 150 w 175"/>
                <a:gd name="T11" fmla="*/ 94 h 529"/>
                <a:gd name="T12" fmla="*/ 112 w 175"/>
                <a:gd name="T13" fmla="*/ 0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5" h="529">
                  <a:moveTo>
                    <a:pt x="47" y="529"/>
                  </a:moveTo>
                  <a:cubicBezTo>
                    <a:pt x="24" y="443"/>
                    <a:pt x="24" y="443"/>
                    <a:pt x="24" y="443"/>
                  </a:cubicBezTo>
                  <a:cubicBezTo>
                    <a:pt x="14" y="399"/>
                    <a:pt x="14" y="399"/>
                    <a:pt x="14" y="399"/>
                  </a:cubicBezTo>
                  <a:cubicBezTo>
                    <a:pt x="0" y="341"/>
                    <a:pt x="29" y="280"/>
                    <a:pt x="84" y="256"/>
                  </a:cubicBezTo>
                  <a:cubicBezTo>
                    <a:pt x="84" y="256"/>
                    <a:pt x="84" y="256"/>
                    <a:pt x="84" y="256"/>
                  </a:cubicBezTo>
                  <a:cubicBezTo>
                    <a:pt x="146" y="228"/>
                    <a:pt x="175" y="157"/>
                    <a:pt x="150" y="94"/>
                  </a:cubicBezTo>
                  <a:cubicBezTo>
                    <a:pt x="112" y="0"/>
                    <a:pt x="112" y="0"/>
                    <a:pt x="112" y="0"/>
                  </a:cubicBez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Freeform 52"/>
            <p:cNvSpPr/>
            <p:nvPr userDrawn="1"/>
          </p:nvSpPr>
          <p:spPr bwMode="auto">
            <a:xfrm>
              <a:off x="7824788" y="3176588"/>
              <a:ext cx="258763" cy="66675"/>
            </a:xfrm>
            <a:custGeom>
              <a:avLst/>
              <a:gdLst>
                <a:gd name="T0" fmla="*/ 0 w 177"/>
                <a:gd name="T1" fmla="*/ 46 h 46"/>
                <a:gd name="T2" fmla="*/ 177 w 177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7" h="46">
                  <a:moveTo>
                    <a:pt x="0" y="46"/>
                  </a:moveTo>
                  <a:cubicBezTo>
                    <a:pt x="3" y="46"/>
                    <a:pt x="177" y="0"/>
                    <a:pt x="177" y="0"/>
                  </a:cubicBez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Freeform 53"/>
            <p:cNvSpPr/>
            <p:nvPr userDrawn="1"/>
          </p:nvSpPr>
          <p:spPr bwMode="auto">
            <a:xfrm>
              <a:off x="6515100" y="2436813"/>
              <a:ext cx="1176338" cy="563563"/>
            </a:xfrm>
            <a:custGeom>
              <a:avLst/>
              <a:gdLst>
                <a:gd name="T0" fmla="*/ 707 w 741"/>
                <a:gd name="T1" fmla="*/ 332 h 355"/>
                <a:gd name="T2" fmla="*/ 704 w 741"/>
                <a:gd name="T3" fmla="*/ 355 h 355"/>
                <a:gd name="T4" fmla="*/ 0 w 741"/>
                <a:gd name="T5" fmla="*/ 243 h 355"/>
                <a:gd name="T6" fmla="*/ 38 w 741"/>
                <a:gd name="T7" fmla="*/ 0 h 355"/>
                <a:gd name="T8" fmla="*/ 741 w 741"/>
                <a:gd name="T9" fmla="*/ 111 h 355"/>
                <a:gd name="T10" fmla="*/ 715 w 741"/>
                <a:gd name="T11" fmla="*/ 282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1" h="355">
                  <a:moveTo>
                    <a:pt x="707" y="332"/>
                  </a:moveTo>
                  <a:lnTo>
                    <a:pt x="704" y="355"/>
                  </a:lnTo>
                  <a:lnTo>
                    <a:pt x="0" y="243"/>
                  </a:lnTo>
                  <a:lnTo>
                    <a:pt x="38" y="0"/>
                  </a:lnTo>
                  <a:lnTo>
                    <a:pt x="741" y="111"/>
                  </a:lnTo>
                  <a:lnTo>
                    <a:pt x="715" y="282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" name="Freeform 54"/>
            <p:cNvSpPr/>
            <p:nvPr userDrawn="1"/>
          </p:nvSpPr>
          <p:spPr bwMode="auto">
            <a:xfrm>
              <a:off x="6621463" y="2505075"/>
              <a:ext cx="271463" cy="107950"/>
            </a:xfrm>
            <a:custGeom>
              <a:avLst/>
              <a:gdLst>
                <a:gd name="T0" fmla="*/ 165 w 171"/>
                <a:gd name="T1" fmla="*/ 68 h 68"/>
                <a:gd name="T2" fmla="*/ 0 w 171"/>
                <a:gd name="T3" fmla="*/ 42 h 68"/>
                <a:gd name="T4" fmla="*/ 7 w 171"/>
                <a:gd name="T5" fmla="*/ 0 h 68"/>
                <a:gd name="T6" fmla="*/ 171 w 171"/>
                <a:gd name="T7" fmla="*/ 26 h 68"/>
                <a:gd name="T8" fmla="*/ 165 w 171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68">
                  <a:moveTo>
                    <a:pt x="165" y="68"/>
                  </a:moveTo>
                  <a:lnTo>
                    <a:pt x="0" y="42"/>
                  </a:lnTo>
                  <a:lnTo>
                    <a:pt x="7" y="0"/>
                  </a:lnTo>
                  <a:lnTo>
                    <a:pt x="171" y="26"/>
                  </a:lnTo>
                  <a:lnTo>
                    <a:pt x="165" y="68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" name="Freeform 55"/>
            <p:cNvSpPr/>
            <p:nvPr userDrawn="1"/>
          </p:nvSpPr>
          <p:spPr bwMode="auto">
            <a:xfrm>
              <a:off x="6940550" y="2554288"/>
              <a:ext cx="82550" cy="82550"/>
            </a:xfrm>
            <a:custGeom>
              <a:avLst/>
              <a:gdLst>
                <a:gd name="T0" fmla="*/ 44 w 52"/>
                <a:gd name="T1" fmla="*/ 52 h 52"/>
                <a:gd name="T2" fmla="*/ 0 w 52"/>
                <a:gd name="T3" fmla="*/ 44 h 52"/>
                <a:gd name="T4" fmla="*/ 8 w 52"/>
                <a:gd name="T5" fmla="*/ 0 h 52"/>
                <a:gd name="T6" fmla="*/ 52 w 52"/>
                <a:gd name="T7" fmla="*/ 8 h 52"/>
                <a:gd name="T8" fmla="*/ 44 w 52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2">
                  <a:moveTo>
                    <a:pt x="44" y="52"/>
                  </a:moveTo>
                  <a:lnTo>
                    <a:pt x="0" y="44"/>
                  </a:lnTo>
                  <a:lnTo>
                    <a:pt x="8" y="0"/>
                  </a:lnTo>
                  <a:lnTo>
                    <a:pt x="52" y="8"/>
                  </a:lnTo>
                  <a:lnTo>
                    <a:pt x="44" y="52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" name="Freeform 56"/>
            <p:cNvSpPr/>
            <p:nvPr userDrawn="1"/>
          </p:nvSpPr>
          <p:spPr bwMode="auto">
            <a:xfrm>
              <a:off x="7059613" y="2573338"/>
              <a:ext cx="80963" cy="82550"/>
            </a:xfrm>
            <a:custGeom>
              <a:avLst/>
              <a:gdLst>
                <a:gd name="T0" fmla="*/ 44 w 51"/>
                <a:gd name="T1" fmla="*/ 52 h 52"/>
                <a:gd name="T2" fmla="*/ 0 w 51"/>
                <a:gd name="T3" fmla="*/ 44 h 52"/>
                <a:gd name="T4" fmla="*/ 7 w 51"/>
                <a:gd name="T5" fmla="*/ 0 h 52"/>
                <a:gd name="T6" fmla="*/ 51 w 51"/>
                <a:gd name="T7" fmla="*/ 7 h 52"/>
                <a:gd name="T8" fmla="*/ 44 w 51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2">
                  <a:moveTo>
                    <a:pt x="44" y="52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1" y="7"/>
                  </a:lnTo>
                  <a:lnTo>
                    <a:pt x="44" y="52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" name="Freeform 57"/>
            <p:cNvSpPr/>
            <p:nvPr userDrawn="1"/>
          </p:nvSpPr>
          <p:spPr bwMode="auto">
            <a:xfrm>
              <a:off x="7177088" y="2592388"/>
              <a:ext cx="82550" cy="80963"/>
            </a:xfrm>
            <a:custGeom>
              <a:avLst/>
              <a:gdLst>
                <a:gd name="T0" fmla="*/ 44 w 52"/>
                <a:gd name="T1" fmla="*/ 51 h 51"/>
                <a:gd name="T2" fmla="*/ 0 w 52"/>
                <a:gd name="T3" fmla="*/ 44 h 51"/>
                <a:gd name="T4" fmla="*/ 7 w 52"/>
                <a:gd name="T5" fmla="*/ 0 h 51"/>
                <a:gd name="T6" fmla="*/ 52 w 52"/>
                <a:gd name="T7" fmla="*/ 7 h 51"/>
                <a:gd name="T8" fmla="*/ 44 w 52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1">
                  <a:moveTo>
                    <a:pt x="44" y="51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2" y="7"/>
                  </a:lnTo>
                  <a:lnTo>
                    <a:pt x="44" y="51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" name="Freeform 58"/>
            <p:cNvSpPr/>
            <p:nvPr userDrawn="1"/>
          </p:nvSpPr>
          <p:spPr bwMode="auto">
            <a:xfrm>
              <a:off x="7296150" y="2611438"/>
              <a:ext cx="80963" cy="80963"/>
            </a:xfrm>
            <a:custGeom>
              <a:avLst/>
              <a:gdLst>
                <a:gd name="T0" fmla="*/ 44 w 51"/>
                <a:gd name="T1" fmla="*/ 51 h 51"/>
                <a:gd name="T2" fmla="*/ 0 w 51"/>
                <a:gd name="T3" fmla="*/ 44 h 51"/>
                <a:gd name="T4" fmla="*/ 7 w 51"/>
                <a:gd name="T5" fmla="*/ 0 h 51"/>
                <a:gd name="T6" fmla="*/ 51 w 51"/>
                <a:gd name="T7" fmla="*/ 6 h 51"/>
                <a:gd name="T8" fmla="*/ 44 w 51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44" y="51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1" y="6"/>
                  </a:lnTo>
                  <a:lnTo>
                    <a:pt x="44" y="51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" name="Freeform 59"/>
            <p:cNvSpPr/>
            <p:nvPr userDrawn="1"/>
          </p:nvSpPr>
          <p:spPr bwMode="auto">
            <a:xfrm>
              <a:off x="7413625" y="2628900"/>
              <a:ext cx="80963" cy="82550"/>
            </a:xfrm>
            <a:custGeom>
              <a:avLst/>
              <a:gdLst>
                <a:gd name="T0" fmla="*/ 45 w 51"/>
                <a:gd name="T1" fmla="*/ 52 h 52"/>
                <a:gd name="T2" fmla="*/ 0 w 51"/>
                <a:gd name="T3" fmla="*/ 44 h 52"/>
                <a:gd name="T4" fmla="*/ 7 w 51"/>
                <a:gd name="T5" fmla="*/ 0 h 52"/>
                <a:gd name="T6" fmla="*/ 51 w 51"/>
                <a:gd name="T7" fmla="*/ 7 h 52"/>
                <a:gd name="T8" fmla="*/ 45 w 51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2">
                  <a:moveTo>
                    <a:pt x="45" y="52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1" y="7"/>
                  </a:lnTo>
                  <a:lnTo>
                    <a:pt x="45" y="52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" name="Freeform 60"/>
            <p:cNvSpPr/>
            <p:nvPr userDrawn="1"/>
          </p:nvSpPr>
          <p:spPr bwMode="auto">
            <a:xfrm>
              <a:off x="6919913" y="2682875"/>
              <a:ext cx="82550" cy="80963"/>
            </a:xfrm>
            <a:custGeom>
              <a:avLst/>
              <a:gdLst>
                <a:gd name="T0" fmla="*/ 45 w 52"/>
                <a:gd name="T1" fmla="*/ 51 h 51"/>
                <a:gd name="T2" fmla="*/ 0 w 52"/>
                <a:gd name="T3" fmla="*/ 44 h 51"/>
                <a:gd name="T4" fmla="*/ 8 w 52"/>
                <a:gd name="T5" fmla="*/ 0 h 51"/>
                <a:gd name="T6" fmla="*/ 52 w 52"/>
                <a:gd name="T7" fmla="*/ 7 h 51"/>
                <a:gd name="T8" fmla="*/ 45 w 52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1">
                  <a:moveTo>
                    <a:pt x="45" y="51"/>
                  </a:moveTo>
                  <a:lnTo>
                    <a:pt x="0" y="44"/>
                  </a:lnTo>
                  <a:lnTo>
                    <a:pt x="8" y="0"/>
                  </a:lnTo>
                  <a:lnTo>
                    <a:pt x="52" y="7"/>
                  </a:lnTo>
                  <a:lnTo>
                    <a:pt x="45" y="51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" name="Freeform 61"/>
            <p:cNvSpPr/>
            <p:nvPr userDrawn="1"/>
          </p:nvSpPr>
          <p:spPr bwMode="auto">
            <a:xfrm>
              <a:off x="7038975" y="2700338"/>
              <a:ext cx="80963" cy="82550"/>
            </a:xfrm>
            <a:custGeom>
              <a:avLst/>
              <a:gdLst>
                <a:gd name="T0" fmla="*/ 44 w 51"/>
                <a:gd name="T1" fmla="*/ 52 h 52"/>
                <a:gd name="T2" fmla="*/ 0 w 51"/>
                <a:gd name="T3" fmla="*/ 44 h 52"/>
                <a:gd name="T4" fmla="*/ 7 w 51"/>
                <a:gd name="T5" fmla="*/ 0 h 52"/>
                <a:gd name="T6" fmla="*/ 51 w 51"/>
                <a:gd name="T7" fmla="*/ 7 h 52"/>
                <a:gd name="T8" fmla="*/ 44 w 51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2">
                  <a:moveTo>
                    <a:pt x="44" y="52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1" y="7"/>
                  </a:lnTo>
                  <a:lnTo>
                    <a:pt x="44" y="52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" name="Freeform 62"/>
            <p:cNvSpPr/>
            <p:nvPr userDrawn="1"/>
          </p:nvSpPr>
          <p:spPr bwMode="auto">
            <a:xfrm>
              <a:off x="6637338" y="2638425"/>
              <a:ext cx="80963" cy="79375"/>
            </a:xfrm>
            <a:custGeom>
              <a:avLst/>
              <a:gdLst>
                <a:gd name="T0" fmla="*/ 44 w 51"/>
                <a:gd name="T1" fmla="*/ 50 h 50"/>
                <a:gd name="T2" fmla="*/ 0 w 51"/>
                <a:gd name="T3" fmla="*/ 44 h 50"/>
                <a:gd name="T4" fmla="*/ 7 w 51"/>
                <a:gd name="T5" fmla="*/ 0 h 50"/>
                <a:gd name="T6" fmla="*/ 51 w 51"/>
                <a:gd name="T7" fmla="*/ 6 h 50"/>
                <a:gd name="T8" fmla="*/ 44 w 51"/>
                <a:gd name="T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0">
                  <a:moveTo>
                    <a:pt x="44" y="50"/>
                  </a:moveTo>
                  <a:lnTo>
                    <a:pt x="0" y="44"/>
                  </a:lnTo>
                  <a:lnTo>
                    <a:pt x="7" y="0"/>
                  </a:lnTo>
                  <a:lnTo>
                    <a:pt x="51" y="6"/>
                  </a:lnTo>
                  <a:lnTo>
                    <a:pt x="44" y="50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" name="Freeform 63"/>
            <p:cNvSpPr/>
            <p:nvPr userDrawn="1"/>
          </p:nvSpPr>
          <p:spPr bwMode="auto">
            <a:xfrm>
              <a:off x="6756400" y="2657475"/>
              <a:ext cx="79375" cy="79375"/>
            </a:xfrm>
            <a:custGeom>
              <a:avLst/>
              <a:gdLst>
                <a:gd name="T0" fmla="*/ 44 w 50"/>
                <a:gd name="T1" fmla="*/ 50 h 50"/>
                <a:gd name="T2" fmla="*/ 0 w 50"/>
                <a:gd name="T3" fmla="*/ 44 h 50"/>
                <a:gd name="T4" fmla="*/ 6 w 50"/>
                <a:gd name="T5" fmla="*/ 0 h 50"/>
                <a:gd name="T6" fmla="*/ 50 w 50"/>
                <a:gd name="T7" fmla="*/ 6 h 50"/>
                <a:gd name="T8" fmla="*/ 44 w 50"/>
                <a:gd name="T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44" y="50"/>
                  </a:moveTo>
                  <a:lnTo>
                    <a:pt x="0" y="44"/>
                  </a:lnTo>
                  <a:lnTo>
                    <a:pt x="6" y="0"/>
                  </a:lnTo>
                  <a:lnTo>
                    <a:pt x="50" y="6"/>
                  </a:lnTo>
                  <a:lnTo>
                    <a:pt x="44" y="50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" name="Freeform 64"/>
            <p:cNvSpPr/>
            <p:nvPr userDrawn="1"/>
          </p:nvSpPr>
          <p:spPr bwMode="auto">
            <a:xfrm>
              <a:off x="7156450" y="2719388"/>
              <a:ext cx="82550" cy="82550"/>
            </a:xfrm>
            <a:custGeom>
              <a:avLst/>
              <a:gdLst>
                <a:gd name="T0" fmla="*/ 44 w 52"/>
                <a:gd name="T1" fmla="*/ 52 h 52"/>
                <a:gd name="T2" fmla="*/ 0 w 52"/>
                <a:gd name="T3" fmla="*/ 44 h 52"/>
                <a:gd name="T4" fmla="*/ 8 w 52"/>
                <a:gd name="T5" fmla="*/ 0 h 52"/>
                <a:gd name="T6" fmla="*/ 52 w 52"/>
                <a:gd name="T7" fmla="*/ 7 h 52"/>
                <a:gd name="T8" fmla="*/ 44 w 52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2">
                  <a:moveTo>
                    <a:pt x="44" y="52"/>
                  </a:moveTo>
                  <a:lnTo>
                    <a:pt x="0" y="44"/>
                  </a:lnTo>
                  <a:lnTo>
                    <a:pt x="8" y="0"/>
                  </a:lnTo>
                  <a:lnTo>
                    <a:pt x="52" y="7"/>
                  </a:lnTo>
                  <a:lnTo>
                    <a:pt x="44" y="52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" name="Freeform 65"/>
            <p:cNvSpPr/>
            <p:nvPr userDrawn="1"/>
          </p:nvSpPr>
          <p:spPr bwMode="auto">
            <a:xfrm>
              <a:off x="7277100" y="2738438"/>
              <a:ext cx="79375" cy="82550"/>
            </a:xfrm>
            <a:custGeom>
              <a:avLst/>
              <a:gdLst>
                <a:gd name="T0" fmla="*/ 44 w 50"/>
                <a:gd name="T1" fmla="*/ 52 h 52"/>
                <a:gd name="T2" fmla="*/ 0 w 50"/>
                <a:gd name="T3" fmla="*/ 44 h 52"/>
                <a:gd name="T4" fmla="*/ 6 w 50"/>
                <a:gd name="T5" fmla="*/ 0 h 52"/>
                <a:gd name="T6" fmla="*/ 50 w 50"/>
                <a:gd name="T7" fmla="*/ 7 h 52"/>
                <a:gd name="T8" fmla="*/ 44 w 50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2">
                  <a:moveTo>
                    <a:pt x="44" y="52"/>
                  </a:moveTo>
                  <a:lnTo>
                    <a:pt x="0" y="44"/>
                  </a:lnTo>
                  <a:lnTo>
                    <a:pt x="6" y="0"/>
                  </a:lnTo>
                  <a:lnTo>
                    <a:pt x="50" y="7"/>
                  </a:lnTo>
                  <a:lnTo>
                    <a:pt x="44" y="52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" name="Freeform 66"/>
            <p:cNvSpPr/>
            <p:nvPr userDrawn="1"/>
          </p:nvSpPr>
          <p:spPr bwMode="auto">
            <a:xfrm>
              <a:off x="7394575" y="2757488"/>
              <a:ext cx="80963" cy="80963"/>
            </a:xfrm>
            <a:custGeom>
              <a:avLst/>
              <a:gdLst>
                <a:gd name="T0" fmla="*/ 44 w 51"/>
                <a:gd name="T1" fmla="*/ 51 h 51"/>
                <a:gd name="T2" fmla="*/ 0 w 51"/>
                <a:gd name="T3" fmla="*/ 44 h 51"/>
                <a:gd name="T4" fmla="*/ 6 w 51"/>
                <a:gd name="T5" fmla="*/ 0 h 51"/>
                <a:gd name="T6" fmla="*/ 51 w 51"/>
                <a:gd name="T7" fmla="*/ 6 h 51"/>
                <a:gd name="T8" fmla="*/ 44 w 51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44" y="51"/>
                  </a:moveTo>
                  <a:lnTo>
                    <a:pt x="0" y="44"/>
                  </a:lnTo>
                  <a:lnTo>
                    <a:pt x="6" y="0"/>
                  </a:lnTo>
                  <a:lnTo>
                    <a:pt x="51" y="6"/>
                  </a:lnTo>
                  <a:lnTo>
                    <a:pt x="44" y="51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" name="Freeform 67"/>
            <p:cNvSpPr/>
            <p:nvPr userDrawn="1"/>
          </p:nvSpPr>
          <p:spPr bwMode="auto">
            <a:xfrm>
              <a:off x="7096125" y="2343150"/>
              <a:ext cx="512763" cy="176213"/>
            </a:xfrm>
            <a:custGeom>
              <a:avLst/>
              <a:gdLst>
                <a:gd name="T0" fmla="*/ 0 w 352"/>
                <a:gd name="T1" fmla="*/ 121 h 121"/>
                <a:gd name="T2" fmla="*/ 0 w 352"/>
                <a:gd name="T3" fmla="*/ 121 h 121"/>
                <a:gd name="T4" fmla="*/ 152 w 352"/>
                <a:gd name="T5" fmla="*/ 57 h 121"/>
                <a:gd name="T6" fmla="*/ 193 w 352"/>
                <a:gd name="T7" fmla="*/ 65 h 121"/>
                <a:gd name="T8" fmla="*/ 326 w 352"/>
                <a:gd name="T9" fmla="*/ 26 h 121"/>
                <a:gd name="T10" fmla="*/ 352 w 352"/>
                <a:gd name="T11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2" h="121">
                  <a:moveTo>
                    <a:pt x="0" y="121"/>
                  </a:moveTo>
                  <a:cubicBezTo>
                    <a:pt x="0" y="121"/>
                    <a:pt x="0" y="121"/>
                    <a:pt x="0" y="121"/>
                  </a:cubicBezTo>
                  <a:cubicBezTo>
                    <a:pt x="33" y="70"/>
                    <a:pt x="93" y="44"/>
                    <a:pt x="152" y="57"/>
                  </a:cubicBezTo>
                  <a:cubicBezTo>
                    <a:pt x="193" y="65"/>
                    <a:pt x="193" y="65"/>
                    <a:pt x="193" y="65"/>
                  </a:cubicBezTo>
                  <a:cubicBezTo>
                    <a:pt x="241" y="76"/>
                    <a:pt x="291" y="61"/>
                    <a:pt x="326" y="26"/>
                  </a:cubicBezTo>
                  <a:cubicBezTo>
                    <a:pt x="352" y="0"/>
                    <a:pt x="352" y="0"/>
                    <a:pt x="352" y="0"/>
                  </a:cubicBez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" name="Freeform 68"/>
            <p:cNvSpPr/>
            <p:nvPr userDrawn="1"/>
          </p:nvSpPr>
          <p:spPr bwMode="auto">
            <a:xfrm>
              <a:off x="8515350" y="2657475"/>
              <a:ext cx="825500" cy="1006475"/>
            </a:xfrm>
            <a:custGeom>
              <a:avLst/>
              <a:gdLst>
                <a:gd name="T0" fmla="*/ 174 w 520"/>
                <a:gd name="T1" fmla="*/ 59 h 634"/>
                <a:gd name="T2" fmla="*/ 54 w 520"/>
                <a:gd name="T3" fmla="*/ 113 h 634"/>
                <a:gd name="T4" fmla="*/ 0 w 520"/>
                <a:gd name="T5" fmla="*/ 253 h 634"/>
                <a:gd name="T6" fmla="*/ 168 w 520"/>
                <a:gd name="T7" fmla="*/ 634 h 634"/>
                <a:gd name="T8" fmla="*/ 520 w 520"/>
                <a:gd name="T9" fmla="*/ 479 h 634"/>
                <a:gd name="T10" fmla="*/ 309 w 520"/>
                <a:gd name="T11" fmla="*/ 0 h 634"/>
                <a:gd name="T12" fmla="*/ 241 w 520"/>
                <a:gd name="T13" fmla="*/ 30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0" h="634">
                  <a:moveTo>
                    <a:pt x="174" y="59"/>
                  </a:moveTo>
                  <a:lnTo>
                    <a:pt x="54" y="113"/>
                  </a:lnTo>
                  <a:lnTo>
                    <a:pt x="0" y="253"/>
                  </a:lnTo>
                  <a:lnTo>
                    <a:pt x="168" y="634"/>
                  </a:lnTo>
                  <a:lnTo>
                    <a:pt x="520" y="479"/>
                  </a:lnTo>
                  <a:lnTo>
                    <a:pt x="309" y="0"/>
                  </a:lnTo>
                  <a:lnTo>
                    <a:pt x="241" y="30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" name="Freeform 69"/>
            <p:cNvSpPr/>
            <p:nvPr userDrawn="1"/>
          </p:nvSpPr>
          <p:spPr bwMode="auto">
            <a:xfrm>
              <a:off x="8513763" y="2836863"/>
              <a:ext cx="155575" cy="222250"/>
            </a:xfrm>
            <a:custGeom>
              <a:avLst/>
              <a:gdLst>
                <a:gd name="T0" fmla="*/ 55 w 98"/>
                <a:gd name="T1" fmla="*/ 0 h 140"/>
                <a:gd name="T2" fmla="*/ 0 w 98"/>
                <a:gd name="T3" fmla="*/ 140 h 140"/>
                <a:gd name="T4" fmla="*/ 98 w 98"/>
                <a:gd name="T5" fmla="*/ 97 h 140"/>
                <a:gd name="T6" fmla="*/ 55 w 98"/>
                <a:gd name="T7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140">
                  <a:moveTo>
                    <a:pt x="55" y="0"/>
                  </a:moveTo>
                  <a:lnTo>
                    <a:pt x="0" y="140"/>
                  </a:lnTo>
                  <a:lnTo>
                    <a:pt x="98" y="97"/>
                  </a:lnTo>
                  <a:lnTo>
                    <a:pt x="55" y="0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2" name="Line 70"/>
            <p:cNvSpPr>
              <a:spLocks noChangeShapeType="1"/>
            </p:cNvSpPr>
            <p:nvPr userDrawn="1"/>
          </p:nvSpPr>
          <p:spPr bwMode="auto">
            <a:xfrm flipV="1">
              <a:off x="8669338" y="2978150"/>
              <a:ext cx="365125" cy="161925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6" name="Line 71"/>
            <p:cNvSpPr>
              <a:spLocks noChangeShapeType="1"/>
            </p:cNvSpPr>
            <p:nvPr userDrawn="1"/>
          </p:nvSpPr>
          <p:spPr bwMode="auto">
            <a:xfrm flipV="1">
              <a:off x="8737600" y="3132138"/>
              <a:ext cx="366713" cy="161925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7" name="Line 72"/>
            <p:cNvSpPr>
              <a:spLocks noChangeShapeType="1"/>
            </p:cNvSpPr>
            <p:nvPr userDrawn="1"/>
          </p:nvSpPr>
          <p:spPr bwMode="auto">
            <a:xfrm flipV="1">
              <a:off x="8805863" y="3289300"/>
              <a:ext cx="366713" cy="161925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8" name="Oval 73"/>
            <p:cNvSpPr>
              <a:spLocks noChangeArrowheads="1"/>
            </p:cNvSpPr>
            <p:nvPr userDrawn="1"/>
          </p:nvSpPr>
          <p:spPr bwMode="auto">
            <a:xfrm>
              <a:off x="8836025" y="2178050"/>
              <a:ext cx="242888" cy="242888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9" name="Freeform 74"/>
            <p:cNvSpPr/>
            <p:nvPr userDrawn="1"/>
          </p:nvSpPr>
          <p:spPr bwMode="auto">
            <a:xfrm>
              <a:off x="8958263" y="2233613"/>
              <a:ext cx="65088" cy="65088"/>
            </a:xfrm>
            <a:custGeom>
              <a:avLst/>
              <a:gdLst>
                <a:gd name="T0" fmla="*/ 0 w 45"/>
                <a:gd name="T1" fmla="*/ 0 h 45"/>
                <a:gd name="T2" fmla="*/ 45 w 45"/>
                <a:gd name="T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5" h="45">
                  <a:moveTo>
                    <a:pt x="0" y="0"/>
                  </a:moveTo>
                  <a:cubicBezTo>
                    <a:pt x="25" y="0"/>
                    <a:pt x="45" y="20"/>
                    <a:pt x="45" y="45"/>
                  </a:cubicBez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0" name="Line 75"/>
            <p:cNvSpPr>
              <a:spLocks noChangeShapeType="1"/>
            </p:cNvSpPr>
            <p:nvPr userDrawn="1"/>
          </p:nvSpPr>
          <p:spPr bwMode="auto">
            <a:xfrm>
              <a:off x="9078913" y="2298700"/>
              <a:ext cx="92075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1" name="Line 76"/>
            <p:cNvSpPr>
              <a:spLocks noChangeShapeType="1"/>
            </p:cNvSpPr>
            <p:nvPr userDrawn="1"/>
          </p:nvSpPr>
          <p:spPr bwMode="auto">
            <a:xfrm flipH="1">
              <a:off x="6546850" y="2090738"/>
              <a:ext cx="73025" cy="73025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2" name="Line 77"/>
            <p:cNvSpPr>
              <a:spLocks noChangeShapeType="1"/>
            </p:cNvSpPr>
            <p:nvPr userDrawn="1"/>
          </p:nvSpPr>
          <p:spPr bwMode="auto">
            <a:xfrm flipH="1">
              <a:off x="6375400" y="2262188"/>
              <a:ext cx="73025" cy="73025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3" name="Line 78"/>
            <p:cNvSpPr>
              <a:spLocks noChangeShapeType="1"/>
            </p:cNvSpPr>
            <p:nvPr userDrawn="1"/>
          </p:nvSpPr>
          <p:spPr bwMode="auto">
            <a:xfrm>
              <a:off x="6375400" y="2090738"/>
              <a:ext cx="73025" cy="73025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4" name="Line 79"/>
            <p:cNvSpPr>
              <a:spLocks noChangeShapeType="1"/>
            </p:cNvSpPr>
            <p:nvPr userDrawn="1"/>
          </p:nvSpPr>
          <p:spPr bwMode="auto">
            <a:xfrm>
              <a:off x="6546850" y="2262188"/>
              <a:ext cx="73025" cy="73025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5" name="Line 80"/>
            <p:cNvSpPr>
              <a:spLocks noChangeShapeType="1"/>
            </p:cNvSpPr>
            <p:nvPr userDrawn="1"/>
          </p:nvSpPr>
          <p:spPr bwMode="auto">
            <a:xfrm flipH="1">
              <a:off x="8551863" y="1925638"/>
              <a:ext cx="73025" cy="73025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6" name="Line 81"/>
            <p:cNvSpPr>
              <a:spLocks noChangeShapeType="1"/>
            </p:cNvSpPr>
            <p:nvPr userDrawn="1"/>
          </p:nvSpPr>
          <p:spPr bwMode="auto">
            <a:xfrm flipH="1">
              <a:off x="8380413" y="2097088"/>
              <a:ext cx="73025" cy="73025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7" name="Line 82"/>
            <p:cNvSpPr>
              <a:spLocks noChangeShapeType="1"/>
            </p:cNvSpPr>
            <p:nvPr userDrawn="1"/>
          </p:nvSpPr>
          <p:spPr bwMode="auto">
            <a:xfrm>
              <a:off x="8380413" y="1925638"/>
              <a:ext cx="73025" cy="73025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8" name="Line 83"/>
            <p:cNvSpPr>
              <a:spLocks noChangeShapeType="1"/>
            </p:cNvSpPr>
            <p:nvPr userDrawn="1"/>
          </p:nvSpPr>
          <p:spPr bwMode="auto">
            <a:xfrm>
              <a:off x="8551863" y="2097088"/>
              <a:ext cx="73025" cy="73025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9" name="Oval 84"/>
            <p:cNvSpPr>
              <a:spLocks noChangeArrowheads="1"/>
            </p:cNvSpPr>
            <p:nvPr userDrawn="1"/>
          </p:nvSpPr>
          <p:spPr bwMode="auto">
            <a:xfrm>
              <a:off x="7175500" y="3248025"/>
              <a:ext cx="146050" cy="146050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0" name="Freeform 85"/>
            <p:cNvSpPr/>
            <p:nvPr userDrawn="1"/>
          </p:nvSpPr>
          <p:spPr bwMode="auto">
            <a:xfrm>
              <a:off x="6988175" y="2027238"/>
              <a:ext cx="182563" cy="182563"/>
            </a:xfrm>
            <a:custGeom>
              <a:avLst/>
              <a:gdLst>
                <a:gd name="T0" fmla="*/ 58 w 115"/>
                <a:gd name="T1" fmla="*/ 115 h 115"/>
                <a:gd name="T2" fmla="*/ 0 w 115"/>
                <a:gd name="T3" fmla="*/ 58 h 115"/>
                <a:gd name="T4" fmla="*/ 58 w 115"/>
                <a:gd name="T5" fmla="*/ 0 h 115"/>
                <a:gd name="T6" fmla="*/ 115 w 115"/>
                <a:gd name="T7" fmla="*/ 58 h 115"/>
                <a:gd name="T8" fmla="*/ 58 w 115"/>
                <a:gd name="T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15">
                  <a:moveTo>
                    <a:pt x="58" y="115"/>
                  </a:moveTo>
                  <a:lnTo>
                    <a:pt x="0" y="58"/>
                  </a:lnTo>
                  <a:lnTo>
                    <a:pt x="58" y="0"/>
                  </a:lnTo>
                  <a:lnTo>
                    <a:pt x="115" y="58"/>
                  </a:lnTo>
                  <a:lnTo>
                    <a:pt x="58" y="115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1" name="Freeform 86"/>
            <p:cNvSpPr/>
            <p:nvPr userDrawn="1"/>
          </p:nvSpPr>
          <p:spPr bwMode="auto">
            <a:xfrm>
              <a:off x="8355013" y="2354263"/>
              <a:ext cx="258763" cy="296863"/>
            </a:xfrm>
            <a:custGeom>
              <a:avLst/>
              <a:gdLst>
                <a:gd name="T0" fmla="*/ 100 w 177"/>
                <a:gd name="T1" fmla="*/ 0 h 203"/>
                <a:gd name="T2" fmla="*/ 15 w 177"/>
                <a:gd name="T3" fmla="*/ 124 h 203"/>
                <a:gd name="T4" fmla="*/ 27 w 177"/>
                <a:gd name="T5" fmla="*/ 189 h 203"/>
                <a:gd name="T6" fmla="*/ 91 w 177"/>
                <a:gd name="T7" fmla="*/ 177 h 203"/>
                <a:gd name="T8" fmla="*/ 177 w 177"/>
                <a:gd name="T9" fmla="*/ 53 h 203"/>
                <a:gd name="T10" fmla="*/ 100 w 177"/>
                <a:gd name="T1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" h="203">
                  <a:moveTo>
                    <a:pt x="100" y="0"/>
                  </a:moveTo>
                  <a:cubicBezTo>
                    <a:pt x="15" y="124"/>
                    <a:pt x="15" y="124"/>
                    <a:pt x="15" y="124"/>
                  </a:cubicBezTo>
                  <a:cubicBezTo>
                    <a:pt x="0" y="145"/>
                    <a:pt x="6" y="174"/>
                    <a:pt x="27" y="189"/>
                  </a:cubicBezTo>
                  <a:cubicBezTo>
                    <a:pt x="48" y="203"/>
                    <a:pt x="77" y="198"/>
                    <a:pt x="91" y="177"/>
                  </a:cubicBezTo>
                  <a:cubicBezTo>
                    <a:pt x="177" y="53"/>
                    <a:pt x="177" y="53"/>
                    <a:pt x="177" y="53"/>
                  </a:cubicBezTo>
                  <a:lnTo>
                    <a:pt x="100" y="0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2" name="Line 87"/>
            <p:cNvSpPr>
              <a:spLocks noChangeShapeType="1"/>
            </p:cNvSpPr>
            <p:nvPr userDrawn="1"/>
          </p:nvSpPr>
          <p:spPr bwMode="auto">
            <a:xfrm>
              <a:off x="8391525" y="2514600"/>
              <a:ext cx="111125" cy="77788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3" name="Freeform 88"/>
            <p:cNvSpPr/>
            <p:nvPr userDrawn="1"/>
          </p:nvSpPr>
          <p:spPr bwMode="auto">
            <a:xfrm>
              <a:off x="8516938" y="2305050"/>
              <a:ext cx="122238" cy="115888"/>
            </a:xfrm>
            <a:custGeom>
              <a:avLst/>
              <a:gdLst>
                <a:gd name="T0" fmla="*/ 77 w 77"/>
                <a:gd name="T1" fmla="*/ 35 h 73"/>
                <a:gd name="T2" fmla="*/ 27 w 77"/>
                <a:gd name="T3" fmla="*/ 0 h 73"/>
                <a:gd name="T4" fmla="*/ 0 w 77"/>
                <a:gd name="T5" fmla="*/ 38 h 73"/>
                <a:gd name="T6" fmla="*/ 51 w 77"/>
                <a:gd name="T7" fmla="*/ 73 h 73"/>
                <a:gd name="T8" fmla="*/ 77 w 77"/>
                <a:gd name="T9" fmla="*/ 3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3">
                  <a:moveTo>
                    <a:pt x="77" y="35"/>
                  </a:moveTo>
                  <a:lnTo>
                    <a:pt x="27" y="0"/>
                  </a:lnTo>
                  <a:lnTo>
                    <a:pt x="0" y="38"/>
                  </a:lnTo>
                  <a:lnTo>
                    <a:pt x="51" y="73"/>
                  </a:lnTo>
                  <a:lnTo>
                    <a:pt x="77" y="35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4" name="Freeform 89"/>
            <p:cNvSpPr/>
            <p:nvPr userDrawn="1"/>
          </p:nvSpPr>
          <p:spPr bwMode="auto">
            <a:xfrm>
              <a:off x="7886700" y="1612900"/>
              <a:ext cx="290513" cy="280988"/>
            </a:xfrm>
            <a:custGeom>
              <a:avLst/>
              <a:gdLst>
                <a:gd name="T0" fmla="*/ 134 w 200"/>
                <a:gd name="T1" fmla="*/ 192 h 192"/>
                <a:gd name="T2" fmla="*/ 0 w 200"/>
                <a:gd name="T3" fmla="*/ 79 h 192"/>
                <a:gd name="T4" fmla="*/ 55 w 200"/>
                <a:gd name="T5" fmla="*/ 14 h 192"/>
                <a:gd name="T6" fmla="*/ 97 w 200"/>
                <a:gd name="T7" fmla="*/ 10 h 192"/>
                <a:gd name="T8" fmla="*/ 186 w 200"/>
                <a:gd name="T9" fmla="*/ 84 h 192"/>
                <a:gd name="T10" fmla="*/ 189 w 200"/>
                <a:gd name="T11" fmla="*/ 126 h 192"/>
                <a:gd name="T12" fmla="*/ 134 w 200"/>
                <a:gd name="T13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192">
                  <a:moveTo>
                    <a:pt x="134" y="192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65" y="1"/>
                    <a:pt x="84" y="0"/>
                    <a:pt x="97" y="10"/>
                  </a:cubicBezTo>
                  <a:cubicBezTo>
                    <a:pt x="186" y="84"/>
                    <a:pt x="186" y="84"/>
                    <a:pt x="186" y="84"/>
                  </a:cubicBezTo>
                  <a:cubicBezTo>
                    <a:pt x="198" y="95"/>
                    <a:pt x="200" y="114"/>
                    <a:pt x="189" y="126"/>
                  </a:cubicBezTo>
                  <a:lnTo>
                    <a:pt x="134" y="192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5" name="Line 90"/>
            <p:cNvSpPr>
              <a:spLocks noChangeShapeType="1"/>
            </p:cNvSpPr>
            <p:nvPr userDrawn="1"/>
          </p:nvSpPr>
          <p:spPr bwMode="auto">
            <a:xfrm>
              <a:off x="7854950" y="1765300"/>
              <a:ext cx="195263" cy="16510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6" name="Line 91"/>
            <p:cNvSpPr>
              <a:spLocks noChangeShapeType="1"/>
            </p:cNvSpPr>
            <p:nvPr userDrawn="1"/>
          </p:nvSpPr>
          <p:spPr bwMode="auto">
            <a:xfrm>
              <a:off x="7797800" y="1835150"/>
              <a:ext cx="195263" cy="16510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7" name="Line 92"/>
            <p:cNvSpPr>
              <a:spLocks noChangeShapeType="1"/>
            </p:cNvSpPr>
            <p:nvPr userDrawn="1"/>
          </p:nvSpPr>
          <p:spPr bwMode="auto">
            <a:xfrm>
              <a:off x="7739063" y="1905000"/>
              <a:ext cx="195263" cy="16510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8" name="Freeform 93"/>
            <p:cNvSpPr/>
            <p:nvPr userDrawn="1"/>
          </p:nvSpPr>
          <p:spPr bwMode="auto">
            <a:xfrm>
              <a:off x="7500938" y="1639888"/>
              <a:ext cx="685800" cy="642938"/>
            </a:xfrm>
            <a:custGeom>
              <a:avLst/>
              <a:gdLst>
                <a:gd name="T0" fmla="*/ 387 w 432"/>
                <a:gd name="T1" fmla="*/ 135 h 405"/>
                <a:gd name="T2" fmla="*/ 384 w 432"/>
                <a:gd name="T3" fmla="*/ 138 h 405"/>
                <a:gd name="T4" fmla="*/ 366 w 432"/>
                <a:gd name="T5" fmla="*/ 160 h 405"/>
                <a:gd name="T6" fmla="*/ 243 w 432"/>
                <a:gd name="T7" fmla="*/ 56 h 405"/>
                <a:gd name="T8" fmla="*/ 261 w 432"/>
                <a:gd name="T9" fmla="*/ 35 h 405"/>
                <a:gd name="T10" fmla="*/ 264 w 432"/>
                <a:gd name="T11" fmla="*/ 31 h 405"/>
                <a:gd name="T12" fmla="*/ 227 w 432"/>
                <a:gd name="T13" fmla="*/ 0 h 405"/>
                <a:gd name="T14" fmla="*/ 0 w 432"/>
                <a:gd name="T15" fmla="*/ 271 h 405"/>
                <a:gd name="T16" fmla="*/ 160 w 432"/>
                <a:gd name="T17" fmla="*/ 405 h 405"/>
                <a:gd name="T18" fmla="*/ 243 w 432"/>
                <a:gd name="T19" fmla="*/ 398 h 405"/>
                <a:gd name="T20" fmla="*/ 432 w 432"/>
                <a:gd name="T21" fmla="*/ 172 h 405"/>
                <a:gd name="T22" fmla="*/ 387 w 432"/>
                <a:gd name="T23" fmla="*/ 13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2" h="405">
                  <a:moveTo>
                    <a:pt x="387" y="135"/>
                  </a:moveTo>
                  <a:lnTo>
                    <a:pt x="384" y="138"/>
                  </a:lnTo>
                  <a:lnTo>
                    <a:pt x="366" y="160"/>
                  </a:lnTo>
                  <a:lnTo>
                    <a:pt x="243" y="56"/>
                  </a:lnTo>
                  <a:lnTo>
                    <a:pt x="261" y="35"/>
                  </a:lnTo>
                  <a:lnTo>
                    <a:pt x="264" y="31"/>
                  </a:lnTo>
                  <a:lnTo>
                    <a:pt x="227" y="0"/>
                  </a:lnTo>
                  <a:lnTo>
                    <a:pt x="0" y="271"/>
                  </a:lnTo>
                  <a:lnTo>
                    <a:pt x="160" y="405"/>
                  </a:lnTo>
                  <a:lnTo>
                    <a:pt x="243" y="398"/>
                  </a:lnTo>
                  <a:lnTo>
                    <a:pt x="432" y="172"/>
                  </a:lnTo>
                  <a:lnTo>
                    <a:pt x="387" y="135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9" name="Freeform 94"/>
            <p:cNvSpPr/>
            <p:nvPr userDrawn="1"/>
          </p:nvSpPr>
          <p:spPr bwMode="auto">
            <a:xfrm>
              <a:off x="7754938" y="2211388"/>
              <a:ext cx="131763" cy="71438"/>
            </a:xfrm>
            <a:custGeom>
              <a:avLst/>
              <a:gdLst>
                <a:gd name="T0" fmla="*/ 0 w 83"/>
                <a:gd name="T1" fmla="*/ 45 h 45"/>
                <a:gd name="T2" fmla="*/ 38 w 83"/>
                <a:gd name="T3" fmla="*/ 0 h 45"/>
                <a:gd name="T4" fmla="*/ 83 w 83"/>
                <a:gd name="T5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3" h="45">
                  <a:moveTo>
                    <a:pt x="0" y="45"/>
                  </a:moveTo>
                  <a:lnTo>
                    <a:pt x="38" y="0"/>
                  </a:lnTo>
                  <a:lnTo>
                    <a:pt x="83" y="38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0" name="Line 95"/>
            <p:cNvSpPr>
              <a:spLocks noChangeShapeType="1"/>
            </p:cNvSpPr>
            <p:nvPr userDrawn="1"/>
          </p:nvSpPr>
          <p:spPr bwMode="auto">
            <a:xfrm>
              <a:off x="7920038" y="1689100"/>
              <a:ext cx="128588" cy="10795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 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关注服务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: 圆角 3"/>
          <p:cNvSpPr/>
          <p:nvPr userDrawn="1"/>
        </p:nvSpPr>
        <p:spPr>
          <a:xfrm>
            <a:off x="1079465" y="1527629"/>
            <a:ext cx="3802742" cy="3802742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 descr="图片包含 纵横字谜, 文字&#10;&#10;已生成极高可信度的说明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08065" y="1756229"/>
            <a:ext cx="3345542" cy="3345542"/>
          </a:xfrm>
          <a:prstGeom prst="rect">
            <a:avLst/>
          </a:prstGeom>
        </p:spPr>
      </p:pic>
      <p:sp>
        <p:nvSpPr>
          <p:cNvPr id="6" name="文本框 5"/>
          <p:cNvSpPr txBox="1"/>
          <p:nvPr userDrawn="1"/>
        </p:nvSpPr>
        <p:spPr>
          <a:xfrm>
            <a:off x="5239657" y="1566506"/>
            <a:ext cx="6013185" cy="35492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办公模板更新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软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信扫码关注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「 微软</a:t>
            </a:r>
            <a:r>
              <a:rPr lang="en-US" altLang="zh-CN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服务号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7" name="图片 6">
            <a:hlinkClick r:id="rId3"/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使用小程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 userDrawn="1"/>
        </p:nvCxnSpPr>
        <p:spPr>
          <a:xfrm>
            <a:off x="0" y="657288"/>
            <a:ext cx="12192000" cy="0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 userDrawn="1"/>
        </p:nvSpPr>
        <p:spPr>
          <a:xfrm>
            <a:off x="0" y="3091547"/>
            <a:ext cx="12192000" cy="3766453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: 圆角 7"/>
          <p:cNvSpPr/>
          <p:nvPr userDrawn="1"/>
        </p:nvSpPr>
        <p:spPr>
          <a:xfrm>
            <a:off x="621395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: 圆角 8"/>
          <p:cNvSpPr/>
          <p:nvPr userDrawn="1"/>
        </p:nvSpPr>
        <p:spPr>
          <a:xfrm>
            <a:off x="4374467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/>
          <p:cNvSpPr txBox="1"/>
          <p:nvPr userDrawn="1"/>
        </p:nvSpPr>
        <p:spPr>
          <a:xfrm>
            <a:off x="1656327" y="286129"/>
            <a:ext cx="8879354" cy="6701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  <a:spcBef>
                <a:spcPts val="600"/>
              </a:spcBef>
            </a:pPr>
            <a:r>
              <a:rPr lang="zh-CN" altLang="en-US" sz="3200" b="1" kern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微信扫描小程序码，使用微软移动办公黑科技 </a:t>
            </a:r>
            <a:endParaRPr lang="en-US" sz="3200" b="1" kern="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 flipH="1">
            <a:off x="1523089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 userDrawn="1"/>
        </p:nvCxnSpPr>
        <p:spPr>
          <a:xfrm flipH="1">
            <a:off x="10402443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: 圆角 12"/>
          <p:cNvSpPr/>
          <p:nvPr userDrawn="1"/>
        </p:nvSpPr>
        <p:spPr>
          <a:xfrm>
            <a:off x="8159751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924" t="13924" r="13924" b="13924"/>
          <a:stretch>
            <a:fillRect/>
          </a:stretch>
        </p:blipFill>
        <p:spPr>
          <a:xfrm>
            <a:off x="4705130" y="1673081"/>
            <a:ext cx="2743200" cy="2743200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 userDrawn="1"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4439" r="14439"/>
          <a:stretch>
            <a:fillRect/>
          </a:stretch>
        </p:blipFill>
        <p:spPr>
          <a:xfrm>
            <a:off x="8519321" y="1673081"/>
            <a:ext cx="2743200" cy="274320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80965" y="1673081"/>
            <a:ext cx="2743200" cy="2743200"/>
          </a:xfrm>
          <a:prstGeom prst="rect">
            <a:avLst/>
          </a:prstGeom>
        </p:spPr>
      </p:pic>
      <p:sp>
        <p:nvSpPr>
          <p:cNvPr id="17" name="文本框 16"/>
          <p:cNvSpPr txBox="1"/>
          <p:nvPr userDrawn="1"/>
        </p:nvSpPr>
        <p:spPr>
          <a:xfrm>
            <a:off x="987447" y="5138740"/>
            <a:ext cx="2730235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在微信访问</a:t>
            </a:r>
            <a:r>
              <a:rPr lang="en-US" altLang="zh-CN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neDrive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</a:t>
            </a:r>
            <a:r>
              <a:rPr lang="en-US" altLang="zh-CN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</a:t>
            </a:r>
            <a:endParaRPr lang="en-US" sz="2000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8" name="文本框 17"/>
          <p:cNvSpPr txBox="1"/>
          <p:nvPr userDrawn="1"/>
        </p:nvSpPr>
        <p:spPr>
          <a:xfrm>
            <a:off x="4862328" y="5138740"/>
            <a:ext cx="2467342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让你的文档会说话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听听文档 」</a:t>
            </a:r>
            <a:endParaRPr lang="zh-CN" altLang="en-US" sz="20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9" name="文本框 18"/>
          <p:cNvSpPr txBox="1"/>
          <p:nvPr userDrawn="1"/>
        </p:nvSpPr>
        <p:spPr>
          <a:xfrm>
            <a:off x="8644425" y="5138740"/>
            <a:ext cx="2492990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你的文档创作小助手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小蜜 」</a:t>
            </a:r>
            <a:endParaRPr lang="zh-CN" altLang="en-US" sz="20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20" name="直接连接符 19"/>
          <p:cNvCxnSpPr/>
          <p:nvPr userDrawn="1"/>
        </p:nvCxnSpPr>
        <p:spPr>
          <a:xfrm>
            <a:off x="419803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 userDrawn="1"/>
        </p:nvCxnSpPr>
        <p:spPr>
          <a:xfrm>
            <a:off x="797621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图片 21">
            <a:hlinkClick r:id="rId5"/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1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95325" y="1"/>
            <a:ext cx="10801350" cy="10159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95325" y="1125538"/>
            <a:ext cx="10801350" cy="50514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grpSp>
        <p:nvGrpSpPr>
          <p:cNvPr id="67" name="组合 66"/>
          <p:cNvGrpSpPr/>
          <p:nvPr/>
        </p:nvGrpSpPr>
        <p:grpSpPr>
          <a:xfrm>
            <a:off x="9451088" y="5101431"/>
            <a:ext cx="2740912" cy="1756569"/>
            <a:chOff x="7046117" y="348455"/>
            <a:chExt cx="3138488" cy="2011363"/>
          </a:xfrm>
        </p:grpSpPr>
        <p:sp>
          <p:nvSpPr>
            <p:cNvPr id="9" name="Freeform 5"/>
            <p:cNvSpPr/>
            <p:nvPr/>
          </p:nvSpPr>
          <p:spPr bwMode="auto">
            <a:xfrm>
              <a:off x="9748042" y="735805"/>
              <a:ext cx="366713" cy="223838"/>
            </a:xfrm>
            <a:custGeom>
              <a:avLst/>
              <a:gdLst>
                <a:gd name="T0" fmla="*/ 0 w 318"/>
                <a:gd name="T1" fmla="*/ 195 h 195"/>
                <a:gd name="T2" fmla="*/ 318 w 318"/>
                <a:gd name="T3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18" h="195">
                  <a:moveTo>
                    <a:pt x="0" y="195"/>
                  </a:moveTo>
                  <a:cubicBezTo>
                    <a:pt x="47" y="67"/>
                    <a:pt x="190" y="0"/>
                    <a:pt x="318" y="47"/>
                  </a:cubicBezTo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Freeform 6"/>
            <p:cNvSpPr/>
            <p:nvPr/>
          </p:nvSpPr>
          <p:spPr bwMode="auto">
            <a:xfrm>
              <a:off x="9808367" y="807243"/>
              <a:ext cx="284163" cy="174625"/>
            </a:xfrm>
            <a:custGeom>
              <a:avLst/>
              <a:gdLst>
                <a:gd name="T0" fmla="*/ 0 w 246"/>
                <a:gd name="T1" fmla="*/ 151 h 151"/>
                <a:gd name="T2" fmla="*/ 246 w 246"/>
                <a:gd name="T3" fmla="*/ 36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6" h="151">
                  <a:moveTo>
                    <a:pt x="0" y="151"/>
                  </a:moveTo>
                  <a:cubicBezTo>
                    <a:pt x="36" y="52"/>
                    <a:pt x="146" y="0"/>
                    <a:pt x="246" y="36"/>
                  </a:cubicBezTo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Freeform 7"/>
            <p:cNvSpPr/>
            <p:nvPr/>
          </p:nvSpPr>
          <p:spPr bwMode="auto">
            <a:xfrm>
              <a:off x="9870280" y="883443"/>
              <a:ext cx="200025" cy="122238"/>
            </a:xfrm>
            <a:custGeom>
              <a:avLst/>
              <a:gdLst>
                <a:gd name="T0" fmla="*/ 0 w 173"/>
                <a:gd name="T1" fmla="*/ 106 h 106"/>
                <a:gd name="T2" fmla="*/ 173 w 173"/>
                <a:gd name="T3" fmla="*/ 2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3" h="106">
                  <a:moveTo>
                    <a:pt x="0" y="106"/>
                  </a:moveTo>
                  <a:cubicBezTo>
                    <a:pt x="25" y="36"/>
                    <a:pt x="103" y="0"/>
                    <a:pt x="173" y="25"/>
                  </a:cubicBezTo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Freeform 8"/>
            <p:cNvSpPr/>
            <p:nvPr/>
          </p:nvSpPr>
          <p:spPr bwMode="auto">
            <a:xfrm>
              <a:off x="9960767" y="989805"/>
              <a:ext cx="92075" cy="93663"/>
            </a:xfrm>
            <a:custGeom>
              <a:avLst/>
              <a:gdLst>
                <a:gd name="T0" fmla="*/ 72 w 80"/>
                <a:gd name="T1" fmla="*/ 26 h 81"/>
                <a:gd name="T2" fmla="*/ 25 w 80"/>
                <a:gd name="T3" fmla="*/ 8 h 81"/>
                <a:gd name="T4" fmla="*/ 8 w 80"/>
                <a:gd name="T5" fmla="*/ 55 h 81"/>
                <a:gd name="T6" fmla="*/ 55 w 80"/>
                <a:gd name="T7" fmla="*/ 73 h 81"/>
                <a:gd name="T8" fmla="*/ 72 w 80"/>
                <a:gd name="T9" fmla="*/ 2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81">
                  <a:moveTo>
                    <a:pt x="72" y="26"/>
                  </a:moveTo>
                  <a:cubicBezTo>
                    <a:pt x="64" y="8"/>
                    <a:pt x="43" y="0"/>
                    <a:pt x="25" y="8"/>
                  </a:cubicBezTo>
                  <a:cubicBezTo>
                    <a:pt x="7" y="17"/>
                    <a:pt x="0" y="38"/>
                    <a:pt x="8" y="55"/>
                  </a:cubicBezTo>
                  <a:cubicBezTo>
                    <a:pt x="16" y="73"/>
                    <a:pt x="37" y="81"/>
                    <a:pt x="55" y="73"/>
                  </a:cubicBezTo>
                  <a:cubicBezTo>
                    <a:pt x="73" y="64"/>
                    <a:pt x="80" y="43"/>
                    <a:pt x="72" y="26"/>
                  </a:cubicBezTo>
                  <a:close/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Freeform 9"/>
            <p:cNvSpPr/>
            <p:nvPr/>
          </p:nvSpPr>
          <p:spPr bwMode="auto">
            <a:xfrm>
              <a:off x="8076405" y="1985168"/>
              <a:ext cx="330200" cy="331788"/>
            </a:xfrm>
            <a:custGeom>
              <a:avLst/>
              <a:gdLst>
                <a:gd name="T0" fmla="*/ 190 w 286"/>
                <a:gd name="T1" fmla="*/ 233 h 287"/>
                <a:gd name="T2" fmla="*/ 249 w 286"/>
                <a:gd name="T3" fmla="*/ 173 h 287"/>
                <a:gd name="T4" fmla="*/ 247 w 286"/>
                <a:gd name="T5" fmla="*/ 37 h 287"/>
                <a:gd name="T6" fmla="*/ 112 w 286"/>
                <a:gd name="T7" fmla="*/ 38 h 287"/>
                <a:gd name="T8" fmla="*/ 22 w 286"/>
                <a:gd name="T9" fmla="*/ 130 h 287"/>
                <a:gd name="T10" fmla="*/ 23 w 286"/>
                <a:gd name="T11" fmla="*/ 209 h 287"/>
                <a:gd name="T12" fmla="*/ 80 w 286"/>
                <a:gd name="T13" fmla="*/ 265 h 287"/>
                <a:gd name="T14" fmla="*/ 159 w 286"/>
                <a:gd name="T15" fmla="*/ 264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6" h="287">
                  <a:moveTo>
                    <a:pt x="190" y="233"/>
                  </a:moveTo>
                  <a:cubicBezTo>
                    <a:pt x="249" y="173"/>
                    <a:pt x="249" y="173"/>
                    <a:pt x="249" y="173"/>
                  </a:cubicBezTo>
                  <a:cubicBezTo>
                    <a:pt x="286" y="135"/>
                    <a:pt x="285" y="74"/>
                    <a:pt x="247" y="37"/>
                  </a:cubicBezTo>
                  <a:cubicBezTo>
                    <a:pt x="209" y="0"/>
                    <a:pt x="149" y="0"/>
                    <a:pt x="112" y="38"/>
                  </a:cubicBezTo>
                  <a:cubicBezTo>
                    <a:pt x="22" y="130"/>
                    <a:pt x="22" y="130"/>
                    <a:pt x="22" y="130"/>
                  </a:cubicBezTo>
                  <a:cubicBezTo>
                    <a:pt x="0" y="152"/>
                    <a:pt x="1" y="187"/>
                    <a:pt x="23" y="209"/>
                  </a:cubicBezTo>
                  <a:cubicBezTo>
                    <a:pt x="80" y="265"/>
                    <a:pt x="80" y="265"/>
                    <a:pt x="80" y="265"/>
                  </a:cubicBezTo>
                  <a:cubicBezTo>
                    <a:pt x="102" y="287"/>
                    <a:pt x="138" y="286"/>
                    <a:pt x="159" y="264"/>
                  </a:cubicBezTo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Freeform 10"/>
            <p:cNvSpPr/>
            <p:nvPr/>
          </p:nvSpPr>
          <p:spPr bwMode="auto">
            <a:xfrm>
              <a:off x="8285955" y="1843880"/>
              <a:ext cx="588963" cy="260350"/>
            </a:xfrm>
            <a:custGeom>
              <a:avLst/>
              <a:gdLst>
                <a:gd name="T0" fmla="*/ 0 w 510"/>
                <a:gd name="T1" fmla="*/ 226 h 226"/>
                <a:gd name="T2" fmla="*/ 65 w 510"/>
                <a:gd name="T3" fmla="*/ 159 h 226"/>
                <a:gd name="T4" fmla="*/ 99 w 510"/>
                <a:gd name="T5" fmla="*/ 126 h 226"/>
                <a:gd name="T6" fmla="*/ 266 w 510"/>
                <a:gd name="T7" fmla="*/ 113 h 226"/>
                <a:gd name="T8" fmla="*/ 266 w 510"/>
                <a:gd name="T9" fmla="*/ 113 h 226"/>
                <a:gd name="T10" fmla="*/ 446 w 510"/>
                <a:gd name="T11" fmla="*/ 84 h 226"/>
                <a:gd name="T12" fmla="*/ 510 w 510"/>
                <a:gd name="T13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0" h="226">
                  <a:moveTo>
                    <a:pt x="0" y="226"/>
                  </a:moveTo>
                  <a:cubicBezTo>
                    <a:pt x="65" y="159"/>
                    <a:pt x="65" y="159"/>
                    <a:pt x="65" y="159"/>
                  </a:cubicBezTo>
                  <a:cubicBezTo>
                    <a:pt x="99" y="126"/>
                    <a:pt x="99" y="126"/>
                    <a:pt x="99" y="126"/>
                  </a:cubicBezTo>
                  <a:cubicBezTo>
                    <a:pt x="144" y="82"/>
                    <a:pt x="214" y="76"/>
                    <a:pt x="266" y="113"/>
                  </a:cubicBezTo>
                  <a:cubicBezTo>
                    <a:pt x="266" y="113"/>
                    <a:pt x="266" y="113"/>
                    <a:pt x="266" y="113"/>
                  </a:cubicBezTo>
                  <a:cubicBezTo>
                    <a:pt x="324" y="153"/>
                    <a:pt x="403" y="140"/>
                    <a:pt x="446" y="84"/>
                  </a:cubicBezTo>
                  <a:cubicBezTo>
                    <a:pt x="510" y="0"/>
                    <a:pt x="510" y="0"/>
                    <a:pt x="510" y="0"/>
                  </a:cubicBezTo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" name="Freeform 11"/>
            <p:cNvSpPr/>
            <p:nvPr/>
          </p:nvSpPr>
          <p:spPr bwMode="auto">
            <a:xfrm>
              <a:off x="8178005" y="2058193"/>
              <a:ext cx="157163" cy="153988"/>
            </a:xfrm>
            <a:custGeom>
              <a:avLst/>
              <a:gdLst>
                <a:gd name="T0" fmla="*/ 0 w 137"/>
                <a:gd name="T1" fmla="*/ 0 h 134"/>
                <a:gd name="T2" fmla="*/ 137 w 137"/>
                <a:gd name="T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7" h="134">
                  <a:moveTo>
                    <a:pt x="0" y="0"/>
                  </a:moveTo>
                  <a:cubicBezTo>
                    <a:pt x="2" y="2"/>
                    <a:pt x="137" y="134"/>
                    <a:pt x="137" y="134"/>
                  </a:cubicBezTo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Freeform 12"/>
            <p:cNvSpPr/>
            <p:nvPr/>
          </p:nvSpPr>
          <p:spPr bwMode="auto">
            <a:xfrm>
              <a:off x="8292305" y="696118"/>
              <a:ext cx="1285875" cy="1027113"/>
            </a:xfrm>
            <a:custGeom>
              <a:avLst/>
              <a:gdLst>
                <a:gd name="T0" fmla="*/ 1089 w 1113"/>
                <a:gd name="T1" fmla="*/ 554 h 888"/>
                <a:gd name="T2" fmla="*/ 1113 w 1113"/>
                <a:gd name="T3" fmla="*/ 649 h 888"/>
                <a:gd name="T4" fmla="*/ 155 w 1113"/>
                <a:gd name="T5" fmla="*/ 888 h 888"/>
                <a:gd name="T6" fmla="*/ 13 w 1113"/>
                <a:gd name="T7" fmla="*/ 319 h 888"/>
                <a:gd name="T8" fmla="*/ 80 w 1113"/>
                <a:gd name="T9" fmla="*/ 207 h 888"/>
                <a:gd name="T10" fmla="*/ 859 w 1113"/>
                <a:gd name="T11" fmla="*/ 12 h 888"/>
                <a:gd name="T12" fmla="*/ 971 w 1113"/>
                <a:gd name="T13" fmla="*/ 80 h 888"/>
                <a:gd name="T14" fmla="*/ 1066 w 1113"/>
                <a:gd name="T15" fmla="*/ 460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3" h="888">
                  <a:moveTo>
                    <a:pt x="1089" y="554"/>
                  </a:moveTo>
                  <a:cubicBezTo>
                    <a:pt x="1113" y="649"/>
                    <a:pt x="1113" y="649"/>
                    <a:pt x="1113" y="649"/>
                  </a:cubicBezTo>
                  <a:cubicBezTo>
                    <a:pt x="155" y="888"/>
                    <a:pt x="155" y="888"/>
                    <a:pt x="155" y="888"/>
                  </a:cubicBezTo>
                  <a:cubicBezTo>
                    <a:pt x="13" y="319"/>
                    <a:pt x="13" y="319"/>
                    <a:pt x="13" y="319"/>
                  </a:cubicBezTo>
                  <a:cubicBezTo>
                    <a:pt x="0" y="269"/>
                    <a:pt x="30" y="219"/>
                    <a:pt x="80" y="207"/>
                  </a:cubicBezTo>
                  <a:cubicBezTo>
                    <a:pt x="859" y="12"/>
                    <a:pt x="859" y="12"/>
                    <a:pt x="859" y="12"/>
                  </a:cubicBezTo>
                  <a:cubicBezTo>
                    <a:pt x="908" y="0"/>
                    <a:pt x="959" y="30"/>
                    <a:pt x="971" y="80"/>
                  </a:cubicBezTo>
                  <a:cubicBezTo>
                    <a:pt x="1066" y="460"/>
                    <a:pt x="1066" y="460"/>
                    <a:pt x="1066" y="460"/>
                  </a:cubicBezTo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Freeform 13"/>
            <p:cNvSpPr/>
            <p:nvPr/>
          </p:nvSpPr>
          <p:spPr bwMode="auto">
            <a:xfrm>
              <a:off x="8379617" y="789780"/>
              <a:ext cx="1098550" cy="806450"/>
            </a:xfrm>
            <a:custGeom>
              <a:avLst/>
              <a:gdLst>
                <a:gd name="T0" fmla="*/ 929 w 951"/>
                <a:gd name="T1" fmla="*/ 401 h 698"/>
                <a:gd name="T2" fmla="*/ 951 w 951"/>
                <a:gd name="T3" fmla="*/ 490 h 698"/>
                <a:gd name="T4" fmla="*/ 118 w 951"/>
                <a:gd name="T5" fmla="*/ 698 h 698"/>
                <a:gd name="T6" fmla="*/ 7 w 951"/>
                <a:gd name="T7" fmla="*/ 255 h 698"/>
                <a:gd name="T8" fmla="*/ 46 w 951"/>
                <a:gd name="T9" fmla="*/ 189 h 698"/>
                <a:gd name="T10" fmla="*/ 775 w 951"/>
                <a:gd name="T11" fmla="*/ 8 h 698"/>
                <a:gd name="T12" fmla="*/ 840 w 951"/>
                <a:gd name="T13" fmla="*/ 47 h 698"/>
                <a:gd name="T14" fmla="*/ 929 w 951"/>
                <a:gd name="T15" fmla="*/ 401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1" h="698">
                  <a:moveTo>
                    <a:pt x="929" y="401"/>
                  </a:moveTo>
                  <a:cubicBezTo>
                    <a:pt x="951" y="490"/>
                    <a:pt x="951" y="490"/>
                    <a:pt x="951" y="490"/>
                  </a:cubicBezTo>
                  <a:cubicBezTo>
                    <a:pt x="118" y="698"/>
                    <a:pt x="118" y="698"/>
                    <a:pt x="118" y="698"/>
                  </a:cubicBezTo>
                  <a:cubicBezTo>
                    <a:pt x="7" y="255"/>
                    <a:pt x="7" y="255"/>
                    <a:pt x="7" y="255"/>
                  </a:cubicBezTo>
                  <a:cubicBezTo>
                    <a:pt x="0" y="226"/>
                    <a:pt x="17" y="197"/>
                    <a:pt x="46" y="189"/>
                  </a:cubicBezTo>
                  <a:cubicBezTo>
                    <a:pt x="775" y="8"/>
                    <a:pt x="775" y="8"/>
                    <a:pt x="775" y="8"/>
                  </a:cubicBezTo>
                  <a:cubicBezTo>
                    <a:pt x="804" y="0"/>
                    <a:pt x="833" y="18"/>
                    <a:pt x="840" y="47"/>
                  </a:cubicBezTo>
                  <a:cubicBezTo>
                    <a:pt x="929" y="401"/>
                    <a:pt x="929" y="401"/>
                    <a:pt x="929" y="401"/>
                  </a:cubicBezTo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" name="Freeform 14"/>
            <p:cNvSpPr/>
            <p:nvPr/>
          </p:nvSpPr>
          <p:spPr bwMode="auto">
            <a:xfrm>
              <a:off x="8851105" y="1621630"/>
              <a:ext cx="411163" cy="185738"/>
            </a:xfrm>
            <a:custGeom>
              <a:avLst/>
              <a:gdLst>
                <a:gd name="T0" fmla="*/ 259 w 259"/>
                <a:gd name="T1" fmla="*/ 56 h 117"/>
                <a:gd name="T2" fmla="*/ 14 w 259"/>
                <a:gd name="T3" fmla="*/ 117 h 117"/>
                <a:gd name="T4" fmla="*/ 0 w 259"/>
                <a:gd name="T5" fmla="*/ 61 h 117"/>
                <a:gd name="T6" fmla="*/ 245 w 259"/>
                <a:gd name="T7" fmla="*/ 0 h 117"/>
                <a:gd name="T8" fmla="*/ 259 w 259"/>
                <a:gd name="T9" fmla="*/ 5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117">
                  <a:moveTo>
                    <a:pt x="259" y="56"/>
                  </a:moveTo>
                  <a:lnTo>
                    <a:pt x="14" y="117"/>
                  </a:lnTo>
                  <a:lnTo>
                    <a:pt x="0" y="61"/>
                  </a:lnTo>
                  <a:lnTo>
                    <a:pt x="245" y="0"/>
                  </a:lnTo>
                  <a:lnTo>
                    <a:pt x="259" y="56"/>
                  </a:lnTo>
                  <a:close/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" name="Freeform 15"/>
            <p:cNvSpPr/>
            <p:nvPr/>
          </p:nvSpPr>
          <p:spPr bwMode="auto">
            <a:xfrm>
              <a:off x="8924130" y="1559718"/>
              <a:ext cx="220663" cy="134938"/>
            </a:xfrm>
            <a:custGeom>
              <a:avLst/>
              <a:gdLst>
                <a:gd name="T0" fmla="*/ 139 w 139"/>
                <a:gd name="T1" fmla="*/ 53 h 85"/>
                <a:gd name="T2" fmla="*/ 14 w 139"/>
                <a:gd name="T3" fmla="*/ 85 h 85"/>
                <a:gd name="T4" fmla="*/ 0 w 139"/>
                <a:gd name="T5" fmla="*/ 31 h 85"/>
                <a:gd name="T6" fmla="*/ 126 w 139"/>
                <a:gd name="T7" fmla="*/ 0 h 85"/>
                <a:gd name="T8" fmla="*/ 139 w 139"/>
                <a:gd name="T9" fmla="*/ 5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85">
                  <a:moveTo>
                    <a:pt x="139" y="53"/>
                  </a:moveTo>
                  <a:lnTo>
                    <a:pt x="14" y="85"/>
                  </a:lnTo>
                  <a:lnTo>
                    <a:pt x="0" y="31"/>
                  </a:lnTo>
                  <a:lnTo>
                    <a:pt x="126" y="0"/>
                  </a:lnTo>
                  <a:lnTo>
                    <a:pt x="139" y="53"/>
                  </a:lnTo>
                  <a:close/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Freeform 16"/>
            <p:cNvSpPr/>
            <p:nvPr/>
          </p:nvSpPr>
          <p:spPr bwMode="auto">
            <a:xfrm>
              <a:off x="8573292" y="1066005"/>
              <a:ext cx="768350" cy="409575"/>
            </a:xfrm>
            <a:custGeom>
              <a:avLst/>
              <a:gdLst>
                <a:gd name="T0" fmla="*/ 0 w 484"/>
                <a:gd name="T1" fmla="*/ 258 h 258"/>
                <a:gd name="T2" fmla="*/ 99 w 484"/>
                <a:gd name="T3" fmla="*/ 24 h 258"/>
                <a:gd name="T4" fmla="*/ 252 w 484"/>
                <a:gd name="T5" fmla="*/ 102 h 258"/>
                <a:gd name="T6" fmla="*/ 291 w 484"/>
                <a:gd name="T7" fmla="*/ 0 h 258"/>
                <a:gd name="T8" fmla="*/ 484 w 484"/>
                <a:gd name="T9" fmla="*/ 115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4" h="258">
                  <a:moveTo>
                    <a:pt x="0" y="258"/>
                  </a:moveTo>
                  <a:lnTo>
                    <a:pt x="99" y="24"/>
                  </a:lnTo>
                  <a:lnTo>
                    <a:pt x="252" y="102"/>
                  </a:lnTo>
                  <a:lnTo>
                    <a:pt x="291" y="0"/>
                  </a:lnTo>
                  <a:lnTo>
                    <a:pt x="484" y="115"/>
                  </a:lnTo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Freeform 17"/>
            <p:cNvSpPr/>
            <p:nvPr/>
          </p:nvSpPr>
          <p:spPr bwMode="auto">
            <a:xfrm>
              <a:off x="9330530" y="1678780"/>
              <a:ext cx="739775" cy="681038"/>
            </a:xfrm>
            <a:custGeom>
              <a:avLst/>
              <a:gdLst>
                <a:gd name="T0" fmla="*/ 365 w 466"/>
                <a:gd name="T1" fmla="*/ 401 h 429"/>
                <a:gd name="T2" fmla="*/ 343 w 466"/>
                <a:gd name="T3" fmla="*/ 429 h 429"/>
                <a:gd name="T4" fmla="*/ 0 w 466"/>
                <a:gd name="T5" fmla="*/ 154 h 429"/>
                <a:gd name="T6" fmla="*/ 124 w 466"/>
                <a:gd name="T7" fmla="*/ 0 h 429"/>
                <a:gd name="T8" fmla="*/ 466 w 466"/>
                <a:gd name="T9" fmla="*/ 275 h 429"/>
                <a:gd name="T10" fmla="*/ 385 w 466"/>
                <a:gd name="T11" fmla="*/ 376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429">
                  <a:moveTo>
                    <a:pt x="365" y="401"/>
                  </a:moveTo>
                  <a:lnTo>
                    <a:pt x="343" y="429"/>
                  </a:lnTo>
                  <a:lnTo>
                    <a:pt x="0" y="154"/>
                  </a:lnTo>
                  <a:lnTo>
                    <a:pt x="124" y="0"/>
                  </a:lnTo>
                  <a:lnTo>
                    <a:pt x="466" y="275"/>
                  </a:lnTo>
                  <a:lnTo>
                    <a:pt x="385" y="376"/>
                  </a:lnTo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Freeform 18"/>
            <p:cNvSpPr/>
            <p:nvPr/>
          </p:nvSpPr>
          <p:spPr bwMode="auto">
            <a:xfrm>
              <a:off x="9330530" y="1723230"/>
              <a:ext cx="704850" cy="636588"/>
            </a:xfrm>
            <a:custGeom>
              <a:avLst/>
              <a:gdLst>
                <a:gd name="T0" fmla="*/ 365 w 444"/>
                <a:gd name="T1" fmla="*/ 373 h 401"/>
                <a:gd name="T2" fmla="*/ 343 w 444"/>
                <a:gd name="T3" fmla="*/ 401 h 401"/>
                <a:gd name="T4" fmla="*/ 0 w 444"/>
                <a:gd name="T5" fmla="*/ 126 h 401"/>
                <a:gd name="T6" fmla="*/ 101 w 444"/>
                <a:gd name="T7" fmla="*/ 0 h 401"/>
                <a:gd name="T8" fmla="*/ 444 w 444"/>
                <a:gd name="T9" fmla="*/ 275 h 401"/>
                <a:gd name="T10" fmla="*/ 391 w 444"/>
                <a:gd name="T11" fmla="*/ 341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4" h="401">
                  <a:moveTo>
                    <a:pt x="365" y="373"/>
                  </a:moveTo>
                  <a:lnTo>
                    <a:pt x="343" y="401"/>
                  </a:lnTo>
                  <a:lnTo>
                    <a:pt x="0" y="126"/>
                  </a:lnTo>
                  <a:lnTo>
                    <a:pt x="101" y="0"/>
                  </a:lnTo>
                  <a:lnTo>
                    <a:pt x="444" y="275"/>
                  </a:lnTo>
                  <a:lnTo>
                    <a:pt x="391" y="341"/>
                  </a:lnTo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Freeform 19"/>
            <p:cNvSpPr/>
            <p:nvPr/>
          </p:nvSpPr>
          <p:spPr bwMode="auto">
            <a:xfrm>
              <a:off x="9624217" y="1493043"/>
              <a:ext cx="560388" cy="542925"/>
            </a:xfrm>
            <a:custGeom>
              <a:avLst/>
              <a:gdLst>
                <a:gd name="T0" fmla="*/ 220 w 353"/>
                <a:gd name="T1" fmla="*/ 342 h 342"/>
                <a:gd name="T2" fmla="*/ 0 w 353"/>
                <a:gd name="T3" fmla="*/ 166 h 342"/>
                <a:gd name="T4" fmla="*/ 134 w 353"/>
                <a:gd name="T5" fmla="*/ 0 h 342"/>
                <a:gd name="T6" fmla="*/ 353 w 353"/>
                <a:gd name="T7" fmla="*/ 177 h 342"/>
                <a:gd name="T8" fmla="*/ 220 w 353"/>
                <a:gd name="T9" fmla="*/ 34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" h="342">
                  <a:moveTo>
                    <a:pt x="220" y="342"/>
                  </a:moveTo>
                  <a:lnTo>
                    <a:pt x="0" y="166"/>
                  </a:lnTo>
                  <a:lnTo>
                    <a:pt x="134" y="0"/>
                  </a:lnTo>
                  <a:lnTo>
                    <a:pt x="353" y="177"/>
                  </a:lnTo>
                  <a:lnTo>
                    <a:pt x="220" y="342"/>
                  </a:lnTo>
                  <a:close/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Freeform 20"/>
            <p:cNvSpPr/>
            <p:nvPr/>
          </p:nvSpPr>
          <p:spPr bwMode="auto">
            <a:xfrm>
              <a:off x="9560717" y="1634330"/>
              <a:ext cx="122238" cy="122238"/>
            </a:xfrm>
            <a:custGeom>
              <a:avLst/>
              <a:gdLst>
                <a:gd name="T0" fmla="*/ 40 w 77"/>
                <a:gd name="T1" fmla="*/ 77 h 77"/>
                <a:gd name="T2" fmla="*/ 0 w 77"/>
                <a:gd name="T3" fmla="*/ 45 h 77"/>
                <a:gd name="T4" fmla="*/ 37 w 77"/>
                <a:gd name="T5" fmla="*/ 0 h 77"/>
                <a:gd name="T6" fmla="*/ 77 w 77"/>
                <a:gd name="T7" fmla="*/ 32 h 77"/>
                <a:gd name="T8" fmla="*/ 40 w 77"/>
                <a:gd name="T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7">
                  <a:moveTo>
                    <a:pt x="40" y="77"/>
                  </a:moveTo>
                  <a:lnTo>
                    <a:pt x="0" y="45"/>
                  </a:lnTo>
                  <a:lnTo>
                    <a:pt x="37" y="0"/>
                  </a:lnTo>
                  <a:lnTo>
                    <a:pt x="77" y="32"/>
                  </a:lnTo>
                  <a:lnTo>
                    <a:pt x="40" y="77"/>
                  </a:lnTo>
                  <a:close/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Freeform 21"/>
            <p:cNvSpPr/>
            <p:nvPr/>
          </p:nvSpPr>
          <p:spPr bwMode="auto">
            <a:xfrm>
              <a:off x="9973467" y="1964530"/>
              <a:ext cx="122238" cy="122238"/>
            </a:xfrm>
            <a:custGeom>
              <a:avLst/>
              <a:gdLst>
                <a:gd name="T0" fmla="*/ 39 w 77"/>
                <a:gd name="T1" fmla="*/ 77 h 77"/>
                <a:gd name="T2" fmla="*/ 0 w 77"/>
                <a:gd name="T3" fmla="*/ 45 h 77"/>
                <a:gd name="T4" fmla="*/ 37 w 77"/>
                <a:gd name="T5" fmla="*/ 0 h 77"/>
                <a:gd name="T6" fmla="*/ 77 w 77"/>
                <a:gd name="T7" fmla="*/ 32 h 77"/>
                <a:gd name="T8" fmla="*/ 39 w 77"/>
                <a:gd name="T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7">
                  <a:moveTo>
                    <a:pt x="39" y="77"/>
                  </a:moveTo>
                  <a:lnTo>
                    <a:pt x="0" y="45"/>
                  </a:lnTo>
                  <a:lnTo>
                    <a:pt x="37" y="0"/>
                  </a:lnTo>
                  <a:lnTo>
                    <a:pt x="77" y="32"/>
                  </a:lnTo>
                  <a:lnTo>
                    <a:pt x="39" y="77"/>
                  </a:lnTo>
                  <a:close/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" name="Line 22"/>
            <p:cNvSpPr>
              <a:spLocks noChangeShapeType="1"/>
            </p:cNvSpPr>
            <p:nvPr/>
          </p:nvSpPr>
          <p:spPr bwMode="auto">
            <a:xfrm>
              <a:off x="9848055" y="1588293"/>
              <a:ext cx="246063" cy="198438"/>
            </a:xfrm>
            <a:prstGeom prst="lin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" name="Line 23"/>
            <p:cNvSpPr>
              <a:spLocks noChangeShapeType="1"/>
            </p:cNvSpPr>
            <p:nvPr/>
          </p:nvSpPr>
          <p:spPr bwMode="auto">
            <a:xfrm>
              <a:off x="9786142" y="1662905"/>
              <a:ext cx="247650" cy="198438"/>
            </a:xfrm>
            <a:prstGeom prst="lin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" name="Line 24"/>
            <p:cNvSpPr>
              <a:spLocks noChangeShapeType="1"/>
            </p:cNvSpPr>
            <p:nvPr/>
          </p:nvSpPr>
          <p:spPr bwMode="auto">
            <a:xfrm>
              <a:off x="9725817" y="1739105"/>
              <a:ext cx="247650" cy="198438"/>
            </a:xfrm>
            <a:prstGeom prst="lin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Line 25"/>
            <p:cNvSpPr>
              <a:spLocks noChangeShapeType="1"/>
            </p:cNvSpPr>
            <p:nvPr/>
          </p:nvSpPr>
          <p:spPr bwMode="auto">
            <a:xfrm flipH="1">
              <a:off x="9043192" y="2078830"/>
              <a:ext cx="60325" cy="61913"/>
            </a:xfrm>
            <a:prstGeom prst="lin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Line 26"/>
            <p:cNvSpPr>
              <a:spLocks noChangeShapeType="1"/>
            </p:cNvSpPr>
            <p:nvPr/>
          </p:nvSpPr>
          <p:spPr bwMode="auto">
            <a:xfrm flipH="1">
              <a:off x="8898730" y="2223293"/>
              <a:ext cx="60325" cy="58738"/>
            </a:xfrm>
            <a:prstGeom prst="lin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Line 27"/>
            <p:cNvSpPr>
              <a:spLocks noChangeShapeType="1"/>
            </p:cNvSpPr>
            <p:nvPr/>
          </p:nvSpPr>
          <p:spPr bwMode="auto">
            <a:xfrm>
              <a:off x="8898730" y="2078830"/>
              <a:ext cx="60325" cy="61913"/>
            </a:xfrm>
            <a:prstGeom prst="lin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" name="Line 28"/>
            <p:cNvSpPr>
              <a:spLocks noChangeShapeType="1"/>
            </p:cNvSpPr>
            <p:nvPr/>
          </p:nvSpPr>
          <p:spPr bwMode="auto">
            <a:xfrm>
              <a:off x="9043192" y="2223293"/>
              <a:ext cx="60325" cy="58738"/>
            </a:xfrm>
            <a:prstGeom prst="lin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Line 29"/>
            <p:cNvSpPr>
              <a:spLocks noChangeShapeType="1"/>
            </p:cNvSpPr>
            <p:nvPr/>
          </p:nvSpPr>
          <p:spPr bwMode="auto">
            <a:xfrm flipH="1">
              <a:off x="7377905" y="1761330"/>
              <a:ext cx="61913" cy="58738"/>
            </a:xfrm>
            <a:prstGeom prst="lin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Line 30"/>
            <p:cNvSpPr>
              <a:spLocks noChangeShapeType="1"/>
            </p:cNvSpPr>
            <p:nvPr/>
          </p:nvSpPr>
          <p:spPr bwMode="auto">
            <a:xfrm flipH="1">
              <a:off x="7236617" y="1902618"/>
              <a:ext cx="60325" cy="60325"/>
            </a:xfrm>
            <a:prstGeom prst="lin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Line 31"/>
            <p:cNvSpPr>
              <a:spLocks noChangeShapeType="1"/>
            </p:cNvSpPr>
            <p:nvPr/>
          </p:nvSpPr>
          <p:spPr bwMode="auto">
            <a:xfrm>
              <a:off x="7236617" y="1761330"/>
              <a:ext cx="60325" cy="58738"/>
            </a:xfrm>
            <a:prstGeom prst="lin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" name="Line 32"/>
            <p:cNvSpPr>
              <a:spLocks noChangeShapeType="1"/>
            </p:cNvSpPr>
            <p:nvPr/>
          </p:nvSpPr>
          <p:spPr bwMode="auto">
            <a:xfrm>
              <a:off x="7377905" y="1902618"/>
              <a:ext cx="61913" cy="60325"/>
            </a:xfrm>
            <a:prstGeom prst="lin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Line 33"/>
            <p:cNvSpPr>
              <a:spLocks noChangeShapeType="1"/>
            </p:cNvSpPr>
            <p:nvPr/>
          </p:nvSpPr>
          <p:spPr bwMode="auto">
            <a:xfrm flipH="1">
              <a:off x="9382917" y="362743"/>
              <a:ext cx="58738" cy="60325"/>
            </a:xfrm>
            <a:prstGeom prst="lin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Line 34"/>
            <p:cNvSpPr>
              <a:spLocks noChangeShapeType="1"/>
            </p:cNvSpPr>
            <p:nvPr/>
          </p:nvSpPr>
          <p:spPr bwMode="auto">
            <a:xfrm flipH="1">
              <a:off x="9238455" y="505618"/>
              <a:ext cx="61913" cy="60325"/>
            </a:xfrm>
            <a:prstGeom prst="lin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Line 35"/>
            <p:cNvSpPr>
              <a:spLocks noChangeShapeType="1"/>
            </p:cNvSpPr>
            <p:nvPr/>
          </p:nvSpPr>
          <p:spPr bwMode="auto">
            <a:xfrm>
              <a:off x="9238455" y="362743"/>
              <a:ext cx="61913" cy="60325"/>
            </a:xfrm>
            <a:prstGeom prst="lin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Line 36"/>
            <p:cNvSpPr>
              <a:spLocks noChangeShapeType="1"/>
            </p:cNvSpPr>
            <p:nvPr/>
          </p:nvSpPr>
          <p:spPr bwMode="auto">
            <a:xfrm>
              <a:off x="9382917" y="505618"/>
              <a:ext cx="58738" cy="60325"/>
            </a:xfrm>
            <a:prstGeom prst="lin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Oval 37"/>
            <p:cNvSpPr>
              <a:spLocks noChangeArrowheads="1"/>
            </p:cNvSpPr>
            <p:nvPr/>
          </p:nvSpPr>
          <p:spPr bwMode="auto">
            <a:xfrm>
              <a:off x="9725817" y="1213643"/>
              <a:ext cx="120650" cy="122238"/>
            </a:xfrm>
            <a:prstGeom prst="ellips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Freeform 38"/>
            <p:cNvSpPr/>
            <p:nvPr/>
          </p:nvSpPr>
          <p:spPr bwMode="auto">
            <a:xfrm>
              <a:off x="7625555" y="1104105"/>
              <a:ext cx="523875" cy="777875"/>
            </a:xfrm>
            <a:custGeom>
              <a:avLst/>
              <a:gdLst>
                <a:gd name="T0" fmla="*/ 238 w 330"/>
                <a:gd name="T1" fmla="*/ 490 h 490"/>
                <a:gd name="T2" fmla="*/ 0 w 330"/>
                <a:gd name="T3" fmla="*/ 440 h 490"/>
                <a:gd name="T4" fmla="*/ 92 w 330"/>
                <a:gd name="T5" fmla="*/ 0 h 490"/>
                <a:gd name="T6" fmla="*/ 330 w 330"/>
                <a:gd name="T7" fmla="*/ 49 h 490"/>
                <a:gd name="T8" fmla="*/ 260 w 330"/>
                <a:gd name="T9" fmla="*/ 387 h 490"/>
                <a:gd name="T10" fmla="*/ 254 w 330"/>
                <a:gd name="T11" fmla="*/ 412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0" h="490">
                  <a:moveTo>
                    <a:pt x="238" y="490"/>
                  </a:moveTo>
                  <a:lnTo>
                    <a:pt x="0" y="440"/>
                  </a:lnTo>
                  <a:lnTo>
                    <a:pt x="92" y="0"/>
                  </a:lnTo>
                  <a:lnTo>
                    <a:pt x="330" y="49"/>
                  </a:lnTo>
                  <a:lnTo>
                    <a:pt x="260" y="387"/>
                  </a:lnTo>
                  <a:lnTo>
                    <a:pt x="254" y="412"/>
                  </a:lnTo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" name="Freeform 39"/>
            <p:cNvSpPr/>
            <p:nvPr/>
          </p:nvSpPr>
          <p:spPr bwMode="auto">
            <a:xfrm>
              <a:off x="7728742" y="1213643"/>
              <a:ext cx="398463" cy="177800"/>
            </a:xfrm>
            <a:custGeom>
              <a:avLst/>
              <a:gdLst>
                <a:gd name="T0" fmla="*/ 238 w 251"/>
                <a:gd name="T1" fmla="*/ 112 h 112"/>
                <a:gd name="T2" fmla="*/ 0 w 251"/>
                <a:gd name="T3" fmla="*/ 62 h 112"/>
                <a:gd name="T4" fmla="*/ 13 w 251"/>
                <a:gd name="T5" fmla="*/ 0 h 112"/>
                <a:gd name="T6" fmla="*/ 251 w 251"/>
                <a:gd name="T7" fmla="*/ 49 h 112"/>
                <a:gd name="T8" fmla="*/ 238 w 251"/>
                <a:gd name="T9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1" h="112">
                  <a:moveTo>
                    <a:pt x="238" y="112"/>
                  </a:moveTo>
                  <a:lnTo>
                    <a:pt x="0" y="62"/>
                  </a:lnTo>
                  <a:lnTo>
                    <a:pt x="13" y="0"/>
                  </a:lnTo>
                  <a:lnTo>
                    <a:pt x="251" y="49"/>
                  </a:lnTo>
                  <a:lnTo>
                    <a:pt x="238" y="112"/>
                  </a:lnTo>
                  <a:close/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" name="Line 40"/>
            <p:cNvSpPr>
              <a:spLocks noChangeShapeType="1"/>
            </p:cNvSpPr>
            <p:nvPr/>
          </p:nvSpPr>
          <p:spPr bwMode="auto">
            <a:xfrm>
              <a:off x="7779542" y="1272380"/>
              <a:ext cx="295275" cy="60325"/>
            </a:xfrm>
            <a:prstGeom prst="lin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" name="Freeform 41"/>
            <p:cNvSpPr/>
            <p:nvPr/>
          </p:nvSpPr>
          <p:spPr bwMode="auto">
            <a:xfrm>
              <a:off x="7827167" y="650080"/>
              <a:ext cx="152400" cy="152400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lnTo>
                    <a:pt x="0" y="48"/>
                  </a:lnTo>
                  <a:lnTo>
                    <a:pt x="48" y="0"/>
                  </a:lnTo>
                  <a:lnTo>
                    <a:pt x="96" y="48"/>
                  </a:lnTo>
                  <a:lnTo>
                    <a:pt x="48" y="96"/>
                  </a:lnTo>
                  <a:close/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" name="Freeform 42"/>
            <p:cNvSpPr/>
            <p:nvPr/>
          </p:nvSpPr>
          <p:spPr bwMode="auto">
            <a:xfrm>
              <a:off x="9997280" y="348455"/>
              <a:ext cx="150813" cy="150813"/>
            </a:xfrm>
            <a:custGeom>
              <a:avLst/>
              <a:gdLst>
                <a:gd name="T0" fmla="*/ 48 w 95"/>
                <a:gd name="T1" fmla="*/ 95 h 95"/>
                <a:gd name="T2" fmla="*/ 0 w 95"/>
                <a:gd name="T3" fmla="*/ 47 h 95"/>
                <a:gd name="T4" fmla="*/ 48 w 95"/>
                <a:gd name="T5" fmla="*/ 0 h 95"/>
                <a:gd name="T6" fmla="*/ 95 w 95"/>
                <a:gd name="T7" fmla="*/ 47 h 95"/>
                <a:gd name="T8" fmla="*/ 48 w 95"/>
                <a:gd name="T9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5">
                  <a:moveTo>
                    <a:pt x="48" y="95"/>
                  </a:moveTo>
                  <a:lnTo>
                    <a:pt x="0" y="47"/>
                  </a:lnTo>
                  <a:lnTo>
                    <a:pt x="48" y="0"/>
                  </a:lnTo>
                  <a:lnTo>
                    <a:pt x="95" y="47"/>
                  </a:lnTo>
                  <a:lnTo>
                    <a:pt x="48" y="95"/>
                  </a:lnTo>
                  <a:close/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" name="Freeform 43"/>
            <p:cNvSpPr/>
            <p:nvPr/>
          </p:nvSpPr>
          <p:spPr bwMode="auto">
            <a:xfrm>
              <a:off x="8393905" y="392905"/>
              <a:ext cx="201613" cy="231775"/>
            </a:xfrm>
            <a:custGeom>
              <a:avLst/>
              <a:gdLst>
                <a:gd name="T0" fmla="*/ 127 w 127"/>
                <a:gd name="T1" fmla="*/ 109 h 146"/>
                <a:gd name="T2" fmla="*/ 65 w 127"/>
                <a:gd name="T3" fmla="*/ 146 h 146"/>
                <a:gd name="T4" fmla="*/ 0 w 127"/>
                <a:gd name="T5" fmla="*/ 37 h 146"/>
                <a:gd name="T6" fmla="*/ 62 w 127"/>
                <a:gd name="T7" fmla="*/ 0 h 146"/>
                <a:gd name="T8" fmla="*/ 127 w 127"/>
                <a:gd name="T9" fmla="*/ 109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46">
                  <a:moveTo>
                    <a:pt x="127" y="109"/>
                  </a:moveTo>
                  <a:lnTo>
                    <a:pt x="65" y="146"/>
                  </a:lnTo>
                  <a:lnTo>
                    <a:pt x="0" y="37"/>
                  </a:lnTo>
                  <a:lnTo>
                    <a:pt x="62" y="0"/>
                  </a:lnTo>
                  <a:lnTo>
                    <a:pt x="127" y="109"/>
                  </a:lnTo>
                  <a:close/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" name="Freeform 44"/>
            <p:cNvSpPr/>
            <p:nvPr/>
          </p:nvSpPr>
          <p:spPr bwMode="auto">
            <a:xfrm>
              <a:off x="8424067" y="445293"/>
              <a:ext cx="171450" cy="179388"/>
            </a:xfrm>
            <a:custGeom>
              <a:avLst/>
              <a:gdLst>
                <a:gd name="T0" fmla="*/ 108 w 108"/>
                <a:gd name="T1" fmla="*/ 76 h 113"/>
                <a:gd name="T2" fmla="*/ 46 w 108"/>
                <a:gd name="T3" fmla="*/ 113 h 113"/>
                <a:gd name="T4" fmla="*/ 0 w 108"/>
                <a:gd name="T5" fmla="*/ 37 h 113"/>
                <a:gd name="T6" fmla="*/ 62 w 108"/>
                <a:gd name="T7" fmla="*/ 0 h 113"/>
                <a:gd name="T8" fmla="*/ 108 w 108"/>
                <a:gd name="T9" fmla="*/ 7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13">
                  <a:moveTo>
                    <a:pt x="108" y="76"/>
                  </a:moveTo>
                  <a:lnTo>
                    <a:pt x="46" y="113"/>
                  </a:lnTo>
                  <a:lnTo>
                    <a:pt x="0" y="37"/>
                  </a:lnTo>
                  <a:lnTo>
                    <a:pt x="62" y="0"/>
                  </a:lnTo>
                  <a:lnTo>
                    <a:pt x="108" y="76"/>
                  </a:lnTo>
                  <a:close/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" name="Freeform 45"/>
            <p:cNvSpPr/>
            <p:nvPr/>
          </p:nvSpPr>
          <p:spPr bwMode="auto">
            <a:xfrm>
              <a:off x="7131842" y="2045493"/>
              <a:ext cx="541338" cy="279400"/>
            </a:xfrm>
            <a:custGeom>
              <a:avLst/>
              <a:gdLst>
                <a:gd name="T0" fmla="*/ 255 w 341"/>
                <a:gd name="T1" fmla="*/ 83 h 176"/>
                <a:gd name="T2" fmla="*/ 19 w 341"/>
                <a:gd name="T3" fmla="*/ 176 h 176"/>
                <a:gd name="T4" fmla="*/ 0 w 341"/>
                <a:gd name="T5" fmla="*/ 125 h 176"/>
                <a:gd name="T6" fmla="*/ 321 w 341"/>
                <a:gd name="T7" fmla="*/ 0 h 176"/>
                <a:gd name="T8" fmla="*/ 341 w 341"/>
                <a:gd name="T9" fmla="*/ 50 h 176"/>
                <a:gd name="T10" fmla="*/ 301 w 341"/>
                <a:gd name="T11" fmla="*/ 6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176">
                  <a:moveTo>
                    <a:pt x="255" y="83"/>
                  </a:moveTo>
                  <a:lnTo>
                    <a:pt x="19" y="176"/>
                  </a:lnTo>
                  <a:lnTo>
                    <a:pt x="0" y="125"/>
                  </a:lnTo>
                  <a:lnTo>
                    <a:pt x="321" y="0"/>
                  </a:lnTo>
                  <a:lnTo>
                    <a:pt x="341" y="50"/>
                  </a:lnTo>
                  <a:lnTo>
                    <a:pt x="301" y="65"/>
                  </a:lnTo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" name="Line 46"/>
            <p:cNvSpPr>
              <a:spLocks noChangeShapeType="1"/>
            </p:cNvSpPr>
            <p:nvPr/>
          </p:nvSpPr>
          <p:spPr bwMode="auto">
            <a:xfrm>
              <a:off x="7331867" y="2166143"/>
              <a:ext cx="31750" cy="79375"/>
            </a:xfrm>
            <a:prstGeom prst="line">
              <a:avLst/>
            </a:pr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" name="Freeform 47"/>
            <p:cNvSpPr/>
            <p:nvPr/>
          </p:nvSpPr>
          <p:spPr bwMode="auto">
            <a:xfrm>
              <a:off x="7046117" y="2243930"/>
              <a:ext cx="115888" cy="80963"/>
            </a:xfrm>
            <a:custGeom>
              <a:avLst/>
              <a:gdLst>
                <a:gd name="T0" fmla="*/ 54 w 73"/>
                <a:gd name="T1" fmla="*/ 0 h 51"/>
                <a:gd name="T2" fmla="*/ 0 w 73"/>
                <a:gd name="T3" fmla="*/ 51 h 51"/>
                <a:gd name="T4" fmla="*/ 73 w 73"/>
                <a:gd name="T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51">
                  <a:moveTo>
                    <a:pt x="54" y="0"/>
                  </a:moveTo>
                  <a:lnTo>
                    <a:pt x="0" y="51"/>
                  </a:lnTo>
                  <a:lnTo>
                    <a:pt x="73" y="51"/>
                  </a:lnTo>
                </a:path>
              </a:pathLst>
            </a:custGeom>
            <a:noFill/>
            <a:ln w="1428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53" name="직사각형 45"/>
          <p:cNvSpPr/>
          <p:nvPr userDrawn="1"/>
        </p:nvSpPr>
        <p:spPr>
          <a:xfrm>
            <a:off x="694268" y="1014191"/>
            <a:ext cx="10802407" cy="2160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sp>
        <p:nvSpPr>
          <p:cNvPr id="52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54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5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tags" Target="../tags/tag163.xml"/><Relationship Id="rId8" Type="http://schemas.openxmlformats.org/officeDocument/2006/relationships/tags" Target="../tags/tag162.xml"/><Relationship Id="rId7" Type="http://schemas.openxmlformats.org/officeDocument/2006/relationships/tags" Target="../tags/tag161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4" Type="http://schemas.openxmlformats.org/officeDocument/2006/relationships/tags" Target="../tags/tag158.xml"/><Relationship Id="rId38" Type="http://schemas.openxmlformats.org/officeDocument/2006/relationships/slideLayout" Target="../slideLayouts/slideLayout4.xml"/><Relationship Id="rId37" Type="http://schemas.openxmlformats.org/officeDocument/2006/relationships/tags" Target="../tags/tag184.xml"/><Relationship Id="rId36" Type="http://schemas.openxmlformats.org/officeDocument/2006/relationships/image" Target="../media/image38.png"/><Relationship Id="rId35" Type="http://schemas.openxmlformats.org/officeDocument/2006/relationships/tags" Target="../tags/tag183.xml"/><Relationship Id="rId34" Type="http://schemas.openxmlformats.org/officeDocument/2006/relationships/image" Target="../media/image37.png"/><Relationship Id="rId33" Type="http://schemas.openxmlformats.org/officeDocument/2006/relationships/tags" Target="../tags/tag182.xml"/><Relationship Id="rId32" Type="http://schemas.openxmlformats.org/officeDocument/2006/relationships/image" Target="../media/image36.png"/><Relationship Id="rId31" Type="http://schemas.openxmlformats.org/officeDocument/2006/relationships/tags" Target="../tags/tag181.xml"/><Relationship Id="rId30" Type="http://schemas.openxmlformats.org/officeDocument/2006/relationships/tags" Target="../tags/tag180.xml"/><Relationship Id="rId3" Type="http://schemas.openxmlformats.org/officeDocument/2006/relationships/tags" Target="../tags/tag157.xml"/><Relationship Id="rId29" Type="http://schemas.openxmlformats.org/officeDocument/2006/relationships/tags" Target="../tags/tag179.xml"/><Relationship Id="rId28" Type="http://schemas.openxmlformats.org/officeDocument/2006/relationships/image" Target="../media/image35.png"/><Relationship Id="rId27" Type="http://schemas.openxmlformats.org/officeDocument/2006/relationships/tags" Target="../tags/tag178.xml"/><Relationship Id="rId26" Type="http://schemas.openxmlformats.org/officeDocument/2006/relationships/image" Target="../media/image34.jpeg"/><Relationship Id="rId25" Type="http://schemas.openxmlformats.org/officeDocument/2006/relationships/tags" Target="../tags/tag177.xml"/><Relationship Id="rId24" Type="http://schemas.openxmlformats.org/officeDocument/2006/relationships/image" Target="../media/image33.png"/><Relationship Id="rId23" Type="http://schemas.openxmlformats.org/officeDocument/2006/relationships/tags" Target="../tags/tag176.xml"/><Relationship Id="rId22" Type="http://schemas.openxmlformats.org/officeDocument/2006/relationships/image" Target="../media/image32.png"/><Relationship Id="rId21" Type="http://schemas.openxmlformats.org/officeDocument/2006/relationships/tags" Target="../tags/tag175.xml"/><Relationship Id="rId20" Type="http://schemas.openxmlformats.org/officeDocument/2006/relationships/tags" Target="../tags/tag174.xml"/><Relationship Id="rId2" Type="http://schemas.openxmlformats.org/officeDocument/2006/relationships/tags" Target="../tags/tag156.xml"/><Relationship Id="rId19" Type="http://schemas.openxmlformats.org/officeDocument/2006/relationships/tags" Target="../tags/tag173.xml"/><Relationship Id="rId18" Type="http://schemas.openxmlformats.org/officeDocument/2006/relationships/tags" Target="../tags/tag172.xml"/><Relationship Id="rId17" Type="http://schemas.openxmlformats.org/officeDocument/2006/relationships/tags" Target="../tags/tag171.xml"/><Relationship Id="rId16" Type="http://schemas.openxmlformats.org/officeDocument/2006/relationships/tags" Target="../tags/tag170.xml"/><Relationship Id="rId15" Type="http://schemas.openxmlformats.org/officeDocument/2006/relationships/tags" Target="../tags/tag169.xml"/><Relationship Id="rId14" Type="http://schemas.openxmlformats.org/officeDocument/2006/relationships/tags" Target="../tags/tag168.xml"/><Relationship Id="rId13" Type="http://schemas.openxmlformats.org/officeDocument/2006/relationships/tags" Target="../tags/tag167.xml"/><Relationship Id="rId12" Type="http://schemas.openxmlformats.org/officeDocument/2006/relationships/tags" Target="../tags/tag166.xml"/><Relationship Id="rId11" Type="http://schemas.openxmlformats.org/officeDocument/2006/relationships/tags" Target="../tags/tag165.xml"/><Relationship Id="rId10" Type="http://schemas.openxmlformats.org/officeDocument/2006/relationships/tags" Target="../tags/tag164.xml"/><Relationship Id="rId1" Type="http://schemas.openxmlformats.org/officeDocument/2006/relationships/tags" Target="../tags/tag15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5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png"/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1" Type="http://schemas.openxmlformats.org/officeDocument/2006/relationships/slideLayout" Target="../slideLayouts/slideLayout4.xml"/><Relationship Id="rId30" Type="http://schemas.openxmlformats.org/officeDocument/2006/relationships/tags" Target="../tags/tag30.xml"/><Relationship Id="rId3" Type="http://schemas.openxmlformats.org/officeDocument/2006/relationships/tags" Target="../tags/tag3.xml"/><Relationship Id="rId29" Type="http://schemas.openxmlformats.org/officeDocument/2006/relationships/tags" Target="../tags/tag29.xml"/><Relationship Id="rId28" Type="http://schemas.openxmlformats.org/officeDocument/2006/relationships/tags" Target="../tags/tag28.xml"/><Relationship Id="rId27" Type="http://schemas.openxmlformats.org/officeDocument/2006/relationships/tags" Target="../tags/tag27.xml"/><Relationship Id="rId26" Type="http://schemas.openxmlformats.org/officeDocument/2006/relationships/tags" Target="../tags/tag26.xml"/><Relationship Id="rId25" Type="http://schemas.openxmlformats.org/officeDocument/2006/relationships/tags" Target="../tags/tag25.xml"/><Relationship Id="rId24" Type="http://schemas.openxmlformats.org/officeDocument/2006/relationships/tags" Target="../tags/tag24.xml"/><Relationship Id="rId23" Type="http://schemas.openxmlformats.org/officeDocument/2006/relationships/tags" Target="../tags/tag23.xml"/><Relationship Id="rId22" Type="http://schemas.openxmlformats.org/officeDocument/2006/relationships/tags" Target="../tags/tag22.xml"/><Relationship Id="rId21" Type="http://schemas.openxmlformats.org/officeDocument/2006/relationships/tags" Target="../tags/tag21.xml"/><Relationship Id="rId20" Type="http://schemas.openxmlformats.org/officeDocument/2006/relationships/tags" Target="../tags/tag20.xml"/><Relationship Id="rId2" Type="http://schemas.openxmlformats.org/officeDocument/2006/relationships/tags" Target="../tags/tag2.xml"/><Relationship Id="rId19" Type="http://schemas.openxmlformats.org/officeDocument/2006/relationships/tags" Target="../tags/tag19.xml"/><Relationship Id="rId18" Type="http://schemas.openxmlformats.org/officeDocument/2006/relationships/tags" Target="../tags/tag18.xml"/><Relationship Id="rId17" Type="http://schemas.openxmlformats.org/officeDocument/2006/relationships/tags" Target="../tags/tag17.xml"/><Relationship Id="rId16" Type="http://schemas.openxmlformats.org/officeDocument/2006/relationships/tags" Target="../tags/tag16.xml"/><Relationship Id="rId15" Type="http://schemas.openxmlformats.org/officeDocument/2006/relationships/tags" Target="../tags/tag15.xml"/><Relationship Id="rId14" Type="http://schemas.openxmlformats.org/officeDocument/2006/relationships/tags" Target="../tags/tag14.xml"/><Relationship Id="rId13" Type="http://schemas.openxmlformats.org/officeDocument/2006/relationships/tags" Target="../tags/tag13.xml"/><Relationship Id="rId12" Type="http://schemas.openxmlformats.org/officeDocument/2006/relationships/tags" Target="../tags/tag12.xml"/><Relationship Id="rId11" Type="http://schemas.openxmlformats.org/officeDocument/2006/relationships/tags" Target="../tags/tag11.xml"/><Relationship Id="rId10" Type="http://schemas.openxmlformats.org/officeDocument/2006/relationships/tags" Target="../tags/tag10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tags" Target="../tags/tag38.xml"/><Relationship Id="rId8" Type="http://schemas.openxmlformats.org/officeDocument/2006/relationships/tags" Target="../tags/tag37.xml"/><Relationship Id="rId7" Type="http://schemas.openxmlformats.org/officeDocument/2006/relationships/tags" Target="../tags/tag36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37" Type="http://schemas.openxmlformats.org/officeDocument/2006/relationships/slideLayout" Target="../slideLayouts/slideLayout4.xml"/><Relationship Id="rId36" Type="http://schemas.openxmlformats.org/officeDocument/2006/relationships/tags" Target="../tags/tag65.xml"/><Relationship Id="rId35" Type="http://schemas.openxmlformats.org/officeDocument/2006/relationships/tags" Target="../tags/tag64.xml"/><Relationship Id="rId34" Type="http://schemas.openxmlformats.org/officeDocument/2006/relationships/tags" Target="../tags/tag63.xml"/><Relationship Id="rId33" Type="http://schemas.openxmlformats.org/officeDocument/2006/relationships/tags" Target="../tags/tag62.xml"/><Relationship Id="rId32" Type="http://schemas.openxmlformats.org/officeDocument/2006/relationships/tags" Target="../tags/tag61.xml"/><Relationship Id="rId31" Type="http://schemas.openxmlformats.org/officeDocument/2006/relationships/tags" Target="../tags/tag60.xml"/><Relationship Id="rId30" Type="http://schemas.openxmlformats.org/officeDocument/2006/relationships/tags" Target="../tags/tag59.xml"/><Relationship Id="rId3" Type="http://schemas.openxmlformats.org/officeDocument/2006/relationships/tags" Target="../tags/tag32.xml"/><Relationship Id="rId29" Type="http://schemas.openxmlformats.org/officeDocument/2006/relationships/tags" Target="../tags/tag58.xml"/><Relationship Id="rId28" Type="http://schemas.openxmlformats.org/officeDocument/2006/relationships/tags" Target="../tags/tag57.xml"/><Relationship Id="rId27" Type="http://schemas.openxmlformats.org/officeDocument/2006/relationships/tags" Target="../tags/tag56.xml"/><Relationship Id="rId26" Type="http://schemas.openxmlformats.org/officeDocument/2006/relationships/tags" Target="../tags/tag55.xml"/><Relationship Id="rId25" Type="http://schemas.openxmlformats.org/officeDocument/2006/relationships/tags" Target="../tags/tag54.xml"/><Relationship Id="rId24" Type="http://schemas.openxmlformats.org/officeDocument/2006/relationships/tags" Target="../tags/tag53.xml"/><Relationship Id="rId23" Type="http://schemas.openxmlformats.org/officeDocument/2006/relationships/tags" Target="../tags/tag52.xml"/><Relationship Id="rId22" Type="http://schemas.openxmlformats.org/officeDocument/2006/relationships/tags" Target="../tags/tag51.xml"/><Relationship Id="rId21" Type="http://schemas.openxmlformats.org/officeDocument/2006/relationships/tags" Target="../tags/tag50.xml"/><Relationship Id="rId20" Type="http://schemas.openxmlformats.org/officeDocument/2006/relationships/tags" Target="../tags/tag49.xml"/><Relationship Id="rId2" Type="http://schemas.openxmlformats.org/officeDocument/2006/relationships/tags" Target="../tags/tag31.xml"/><Relationship Id="rId19" Type="http://schemas.openxmlformats.org/officeDocument/2006/relationships/tags" Target="../tags/tag48.xml"/><Relationship Id="rId18" Type="http://schemas.openxmlformats.org/officeDocument/2006/relationships/tags" Target="../tags/tag47.xml"/><Relationship Id="rId17" Type="http://schemas.openxmlformats.org/officeDocument/2006/relationships/tags" Target="../tags/tag46.xml"/><Relationship Id="rId16" Type="http://schemas.openxmlformats.org/officeDocument/2006/relationships/tags" Target="../tags/tag45.xml"/><Relationship Id="rId15" Type="http://schemas.openxmlformats.org/officeDocument/2006/relationships/tags" Target="../tags/tag44.xml"/><Relationship Id="rId14" Type="http://schemas.openxmlformats.org/officeDocument/2006/relationships/tags" Target="../tags/tag43.xml"/><Relationship Id="rId13" Type="http://schemas.openxmlformats.org/officeDocument/2006/relationships/tags" Target="../tags/tag42.xml"/><Relationship Id="rId12" Type="http://schemas.openxmlformats.org/officeDocument/2006/relationships/tags" Target="../tags/tag41.xml"/><Relationship Id="rId11" Type="http://schemas.openxmlformats.org/officeDocument/2006/relationships/tags" Target="../tags/tag40.xml"/><Relationship Id="rId10" Type="http://schemas.openxmlformats.org/officeDocument/2006/relationships/tags" Target="../tags/tag39.xml"/><Relationship Id="rId1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.xml"/><Relationship Id="rId8" Type="http://schemas.openxmlformats.org/officeDocument/2006/relationships/tags" Target="../tags/tag71.xml"/><Relationship Id="rId7" Type="http://schemas.openxmlformats.org/officeDocument/2006/relationships/image" Target="../media/image13.GIF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image" Target="../media/image22.jpeg"/><Relationship Id="rId8" Type="http://schemas.openxmlformats.org/officeDocument/2006/relationships/image" Target="../media/image21.jpeg"/><Relationship Id="rId7" Type="http://schemas.openxmlformats.org/officeDocument/2006/relationships/image" Target="../media/image20.jpeg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3" Type="http://schemas.openxmlformats.org/officeDocument/2006/relationships/notesSlide" Target="../notesSlides/notesSlide1.xml"/><Relationship Id="rId12" Type="http://schemas.openxmlformats.org/officeDocument/2006/relationships/slideLayout" Target="../slideLayouts/slideLayout5.xml"/><Relationship Id="rId11" Type="http://schemas.openxmlformats.org/officeDocument/2006/relationships/tags" Target="../tags/tag72.xml"/><Relationship Id="rId10" Type="http://schemas.openxmlformats.org/officeDocument/2006/relationships/image" Target="../media/image23.png"/><Relationship Id="rId1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80.xml"/><Relationship Id="rId8" Type="http://schemas.openxmlformats.org/officeDocument/2006/relationships/tags" Target="../tags/tag79.xml"/><Relationship Id="rId7" Type="http://schemas.openxmlformats.org/officeDocument/2006/relationships/tags" Target="../tags/tag78.x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4" Type="http://schemas.openxmlformats.org/officeDocument/2006/relationships/tags" Target="../tags/tag75.xml"/><Relationship Id="rId3" Type="http://schemas.openxmlformats.org/officeDocument/2006/relationships/tags" Target="../tags/tag74.xml"/><Relationship Id="rId22" Type="http://schemas.openxmlformats.org/officeDocument/2006/relationships/slideLayout" Target="../slideLayouts/slideLayout4.xml"/><Relationship Id="rId21" Type="http://schemas.openxmlformats.org/officeDocument/2006/relationships/image" Target="../media/image28.jpeg"/><Relationship Id="rId20" Type="http://schemas.openxmlformats.org/officeDocument/2006/relationships/image" Target="../media/image27.jpeg"/><Relationship Id="rId2" Type="http://schemas.openxmlformats.org/officeDocument/2006/relationships/tags" Target="../tags/tag73.xml"/><Relationship Id="rId19" Type="http://schemas.openxmlformats.org/officeDocument/2006/relationships/image" Target="../media/image26.png"/><Relationship Id="rId18" Type="http://schemas.openxmlformats.org/officeDocument/2006/relationships/image" Target="../media/image25.png"/><Relationship Id="rId17" Type="http://schemas.openxmlformats.org/officeDocument/2006/relationships/image" Target="../media/image24.png"/><Relationship Id="rId16" Type="http://schemas.openxmlformats.org/officeDocument/2006/relationships/tags" Target="../tags/tag87.xml"/><Relationship Id="rId15" Type="http://schemas.openxmlformats.org/officeDocument/2006/relationships/tags" Target="../tags/tag86.xml"/><Relationship Id="rId14" Type="http://schemas.openxmlformats.org/officeDocument/2006/relationships/tags" Target="../tags/tag85.xml"/><Relationship Id="rId13" Type="http://schemas.openxmlformats.org/officeDocument/2006/relationships/tags" Target="../tags/tag84.xml"/><Relationship Id="rId12" Type="http://schemas.openxmlformats.org/officeDocument/2006/relationships/tags" Target="../tags/tag83.xml"/><Relationship Id="rId11" Type="http://schemas.openxmlformats.org/officeDocument/2006/relationships/tags" Target="../tags/tag82.xml"/><Relationship Id="rId10" Type="http://schemas.openxmlformats.org/officeDocument/2006/relationships/tags" Target="../tags/tag81.xml"/><Relationship Id="rId1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tags" Target="../tags/tag96.xml"/><Relationship Id="rId8" Type="http://schemas.openxmlformats.org/officeDocument/2006/relationships/tags" Target="../tags/tag95.xml"/><Relationship Id="rId7" Type="http://schemas.openxmlformats.org/officeDocument/2006/relationships/tags" Target="../tags/tag94.xml"/><Relationship Id="rId6" Type="http://schemas.openxmlformats.org/officeDocument/2006/relationships/tags" Target="../tags/tag93.xml"/><Relationship Id="rId5" Type="http://schemas.openxmlformats.org/officeDocument/2006/relationships/tags" Target="../tags/tag92.xml"/><Relationship Id="rId4" Type="http://schemas.openxmlformats.org/officeDocument/2006/relationships/tags" Target="../tags/tag91.xml"/><Relationship Id="rId38" Type="http://schemas.openxmlformats.org/officeDocument/2006/relationships/notesSlide" Target="../notesSlides/notesSlide2.xml"/><Relationship Id="rId37" Type="http://schemas.openxmlformats.org/officeDocument/2006/relationships/slideLayout" Target="../slideLayouts/slideLayout5.xml"/><Relationship Id="rId36" Type="http://schemas.openxmlformats.org/officeDocument/2006/relationships/tags" Target="../tags/tag119.xml"/><Relationship Id="rId35" Type="http://schemas.openxmlformats.org/officeDocument/2006/relationships/image" Target="../media/image8.png"/><Relationship Id="rId34" Type="http://schemas.openxmlformats.org/officeDocument/2006/relationships/tags" Target="../tags/tag118.xml"/><Relationship Id="rId33" Type="http://schemas.openxmlformats.org/officeDocument/2006/relationships/image" Target="../media/image31.png"/><Relationship Id="rId32" Type="http://schemas.openxmlformats.org/officeDocument/2006/relationships/image" Target="../media/image30.jpeg"/><Relationship Id="rId31" Type="http://schemas.openxmlformats.org/officeDocument/2006/relationships/tags" Target="../tags/tag117.xml"/><Relationship Id="rId30" Type="http://schemas.openxmlformats.org/officeDocument/2006/relationships/image" Target="../media/image29.jpeg"/><Relationship Id="rId3" Type="http://schemas.openxmlformats.org/officeDocument/2006/relationships/tags" Target="../tags/tag90.xml"/><Relationship Id="rId29" Type="http://schemas.openxmlformats.org/officeDocument/2006/relationships/tags" Target="../tags/tag116.xml"/><Relationship Id="rId28" Type="http://schemas.openxmlformats.org/officeDocument/2006/relationships/tags" Target="../tags/tag115.xml"/><Relationship Id="rId27" Type="http://schemas.openxmlformats.org/officeDocument/2006/relationships/tags" Target="../tags/tag114.xml"/><Relationship Id="rId26" Type="http://schemas.openxmlformats.org/officeDocument/2006/relationships/tags" Target="../tags/tag113.xml"/><Relationship Id="rId25" Type="http://schemas.openxmlformats.org/officeDocument/2006/relationships/tags" Target="../tags/tag112.xml"/><Relationship Id="rId24" Type="http://schemas.openxmlformats.org/officeDocument/2006/relationships/tags" Target="../tags/tag111.xml"/><Relationship Id="rId23" Type="http://schemas.openxmlformats.org/officeDocument/2006/relationships/tags" Target="../tags/tag110.xml"/><Relationship Id="rId22" Type="http://schemas.openxmlformats.org/officeDocument/2006/relationships/tags" Target="../tags/tag109.xml"/><Relationship Id="rId21" Type="http://schemas.openxmlformats.org/officeDocument/2006/relationships/tags" Target="../tags/tag108.xml"/><Relationship Id="rId20" Type="http://schemas.openxmlformats.org/officeDocument/2006/relationships/tags" Target="../tags/tag107.xml"/><Relationship Id="rId2" Type="http://schemas.openxmlformats.org/officeDocument/2006/relationships/tags" Target="../tags/tag89.xml"/><Relationship Id="rId19" Type="http://schemas.openxmlformats.org/officeDocument/2006/relationships/tags" Target="../tags/tag106.xml"/><Relationship Id="rId18" Type="http://schemas.openxmlformats.org/officeDocument/2006/relationships/tags" Target="../tags/tag105.xml"/><Relationship Id="rId17" Type="http://schemas.openxmlformats.org/officeDocument/2006/relationships/tags" Target="../tags/tag104.xml"/><Relationship Id="rId16" Type="http://schemas.openxmlformats.org/officeDocument/2006/relationships/tags" Target="../tags/tag103.xml"/><Relationship Id="rId15" Type="http://schemas.openxmlformats.org/officeDocument/2006/relationships/tags" Target="../tags/tag102.xml"/><Relationship Id="rId14" Type="http://schemas.openxmlformats.org/officeDocument/2006/relationships/tags" Target="../tags/tag101.xml"/><Relationship Id="rId13" Type="http://schemas.openxmlformats.org/officeDocument/2006/relationships/tags" Target="../tags/tag100.xml"/><Relationship Id="rId12" Type="http://schemas.openxmlformats.org/officeDocument/2006/relationships/tags" Target="../tags/tag99.xml"/><Relationship Id="rId11" Type="http://schemas.openxmlformats.org/officeDocument/2006/relationships/tags" Target="../tags/tag98.xml"/><Relationship Id="rId10" Type="http://schemas.openxmlformats.org/officeDocument/2006/relationships/tags" Target="../tags/tag97.xml"/><Relationship Id="rId1" Type="http://schemas.openxmlformats.org/officeDocument/2006/relationships/tags" Target="../tags/tag88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tags" Target="../tags/tag127.xml"/><Relationship Id="rId8" Type="http://schemas.openxmlformats.org/officeDocument/2006/relationships/tags" Target="../tags/tag126.xml"/><Relationship Id="rId7" Type="http://schemas.openxmlformats.org/officeDocument/2006/relationships/tags" Target="../tags/tag125.xml"/><Relationship Id="rId6" Type="http://schemas.openxmlformats.org/officeDocument/2006/relationships/tags" Target="../tags/tag124.xml"/><Relationship Id="rId5" Type="http://schemas.openxmlformats.org/officeDocument/2006/relationships/tags" Target="../tags/tag123.xml"/><Relationship Id="rId4" Type="http://schemas.openxmlformats.org/officeDocument/2006/relationships/tags" Target="../tags/tag122.xml"/><Relationship Id="rId37" Type="http://schemas.openxmlformats.org/officeDocument/2006/relationships/slideLayout" Target="../slideLayouts/slideLayout4.xml"/><Relationship Id="rId36" Type="http://schemas.openxmlformats.org/officeDocument/2006/relationships/tags" Target="../tags/tag154.xml"/><Relationship Id="rId35" Type="http://schemas.openxmlformats.org/officeDocument/2006/relationships/tags" Target="../tags/tag153.xml"/><Relationship Id="rId34" Type="http://schemas.openxmlformats.org/officeDocument/2006/relationships/tags" Target="../tags/tag152.xml"/><Relationship Id="rId33" Type="http://schemas.openxmlformats.org/officeDocument/2006/relationships/tags" Target="../tags/tag151.xml"/><Relationship Id="rId32" Type="http://schemas.openxmlformats.org/officeDocument/2006/relationships/tags" Target="../tags/tag150.xml"/><Relationship Id="rId31" Type="http://schemas.openxmlformats.org/officeDocument/2006/relationships/tags" Target="../tags/tag149.xml"/><Relationship Id="rId30" Type="http://schemas.openxmlformats.org/officeDocument/2006/relationships/tags" Target="../tags/tag148.xml"/><Relationship Id="rId3" Type="http://schemas.openxmlformats.org/officeDocument/2006/relationships/tags" Target="../tags/tag121.xml"/><Relationship Id="rId29" Type="http://schemas.openxmlformats.org/officeDocument/2006/relationships/tags" Target="../tags/tag147.xml"/><Relationship Id="rId28" Type="http://schemas.openxmlformats.org/officeDocument/2006/relationships/tags" Target="../tags/tag146.xml"/><Relationship Id="rId27" Type="http://schemas.openxmlformats.org/officeDocument/2006/relationships/tags" Target="../tags/tag145.xml"/><Relationship Id="rId26" Type="http://schemas.openxmlformats.org/officeDocument/2006/relationships/tags" Target="../tags/tag144.xml"/><Relationship Id="rId25" Type="http://schemas.openxmlformats.org/officeDocument/2006/relationships/tags" Target="../tags/tag143.xml"/><Relationship Id="rId24" Type="http://schemas.openxmlformats.org/officeDocument/2006/relationships/tags" Target="../tags/tag142.xml"/><Relationship Id="rId23" Type="http://schemas.openxmlformats.org/officeDocument/2006/relationships/tags" Target="../tags/tag141.xml"/><Relationship Id="rId22" Type="http://schemas.openxmlformats.org/officeDocument/2006/relationships/tags" Target="../tags/tag140.xml"/><Relationship Id="rId21" Type="http://schemas.openxmlformats.org/officeDocument/2006/relationships/tags" Target="../tags/tag139.xml"/><Relationship Id="rId20" Type="http://schemas.openxmlformats.org/officeDocument/2006/relationships/tags" Target="../tags/tag138.xml"/><Relationship Id="rId2" Type="http://schemas.openxmlformats.org/officeDocument/2006/relationships/tags" Target="../tags/tag120.xml"/><Relationship Id="rId19" Type="http://schemas.openxmlformats.org/officeDocument/2006/relationships/tags" Target="../tags/tag137.xml"/><Relationship Id="rId18" Type="http://schemas.openxmlformats.org/officeDocument/2006/relationships/tags" Target="../tags/tag136.xml"/><Relationship Id="rId17" Type="http://schemas.openxmlformats.org/officeDocument/2006/relationships/tags" Target="../tags/tag135.xml"/><Relationship Id="rId16" Type="http://schemas.openxmlformats.org/officeDocument/2006/relationships/tags" Target="../tags/tag134.xml"/><Relationship Id="rId15" Type="http://schemas.openxmlformats.org/officeDocument/2006/relationships/tags" Target="../tags/tag133.xml"/><Relationship Id="rId14" Type="http://schemas.openxmlformats.org/officeDocument/2006/relationships/tags" Target="../tags/tag132.xml"/><Relationship Id="rId13" Type="http://schemas.openxmlformats.org/officeDocument/2006/relationships/tags" Target="../tags/tag131.xml"/><Relationship Id="rId12" Type="http://schemas.openxmlformats.org/officeDocument/2006/relationships/tags" Target="../tags/tag130.xml"/><Relationship Id="rId11" Type="http://schemas.openxmlformats.org/officeDocument/2006/relationships/tags" Target="../tags/tag129.xml"/><Relationship Id="rId10" Type="http://schemas.openxmlformats.org/officeDocument/2006/relationships/tags" Target="../tags/tag128.xml"/><Relationship Id="rId1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/>
              <a:t>大数据私人营养顾问</a:t>
            </a:r>
            <a:r>
              <a:rPr lang="en-US" altLang="zh-CN" dirty="0"/>
              <a:t>+</a:t>
            </a:r>
            <a:r>
              <a:rPr lang="zh-CN" altLang="en-US" dirty="0"/>
              <a:t>厨房教练</a:t>
            </a:r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baseline="30000" dirty="0"/>
              <a:t>mealprep®</a:t>
            </a:r>
            <a:r>
              <a:rPr lang="en-US" altLang="zh-CN" dirty="0"/>
              <a:t> </a:t>
            </a:r>
            <a:br>
              <a:rPr lang="en-US" altLang="zh-CN" dirty="0"/>
            </a:br>
            <a:r>
              <a:rPr lang="zh-CN" altLang="en-US" dirty="0"/>
              <a:t>功能性饮食创新坊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追踪式</a:t>
            </a:r>
            <a:r>
              <a:rPr lang="zh-CN" altLang="en-US" dirty="0">
                <a:sym typeface="+mn-ea"/>
              </a:rPr>
              <a:t>精细化</a:t>
            </a:r>
            <a:r>
              <a:rPr lang="zh-CN" altLang="en-US" dirty="0"/>
              <a:t>饮食管理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zh-CN" altLang="en-US"/>
              <a:t>中国风轻食茶饮</a:t>
            </a:r>
            <a:endParaRPr lang="zh-CN" altLang="en-US"/>
          </a:p>
        </p:txBody>
      </p:sp>
      <p:sp>
        <p:nvSpPr>
          <p:cNvPr id="8" name="Rectangle 9677"/>
          <p:cNvSpPr>
            <a:spLocks noChangeArrowheads="1"/>
          </p:cNvSpPr>
          <p:nvPr/>
        </p:nvSpPr>
        <p:spPr bwMode="auto">
          <a:xfrm>
            <a:off x="3591719" y="4116113"/>
            <a:ext cx="5008563" cy="7938"/>
          </a:xfrm>
          <a:prstGeom prst="rect">
            <a:avLst/>
          </a:prstGeom>
          <a:solidFill>
            <a:srgbClr val="A9A8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7" dur="80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8" dur="80"/>
                                        <p:tgtEl>
                                          <p:spTgt spid="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80"/>
                                        <p:tgtEl>
                                          <p:spTgt spid="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9"/>
                            </p:stCondLst>
                            <p:childTnLst>
                              <p:par>
                                <p:cTn id="11" presetID="27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13" dur="8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14" dur="8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5" dur="8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359"/>
                            </p:stCondLst>
                            <p:childTnLst>
                              <p:par>
                                <p:cTn id="17" presetID="27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19" dur="8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20" dur="8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1" dur="8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7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24" dur="8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25" dur="8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6" dur="8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4" grpId="1"/>
      <p:bldP spid="5" grpId="0" build="p"/>
      <p:bldP spid="5" grpId="1" build="p"/>
      <p:bldP spid="6" grpId="0" build="p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组合 32"/>
          <p:cNvGrpSpPr/>
          <p:nvPr/>
        </p:nvGrpSpPr>
        <p:grpSpPr>
          <a:xfrm>
            <a:off x="1236345" y="704850"/>
            <a:ext cx="2743200" cy="5331506"/>
            <a:chOff x="5965" y="2077"/>
            <a:chExt cx="7178" cy="13949"/>
          </a:xfrm>
        </p:grpSpPr>
        <p:sp>
          <p:nvSpPr>
            <p:cNvPr id="36" name="任意多边形 35"/>
            <p:cNvSpPr/>
            <p:nvPr>
              <p:custDataLst>
                <p:tags r:id="rId1"/>
              </p:custDataLst>
            </p:nvPr>
          </p:nvSpPr>
          <p:spPr>
            <a:xfrm>
              <a:off x="6056" y="2077"/>
              <a:ext cx="7087" cy="4398"/>
            </a:xfrm>
            <a:custGeom>
              <a:avLst/>
              <a:gdLst>
                <a:gd name="connsiteX0" fmla="*/ 1520268 w 2785064"/>
                <a:gd name="connsiteY0" fmla="*/ 0 h 2793949"/>
                <a:gd name="connsiteX1" fmla="*/ 1590774 w 2785064"/>
                <a:gd name="connsiteY1" fmla="*/ 903 h 2793949"/>
                <a:gd name="connsiteX2" fmla="*/ 1659210 w 2785064"/>
                <a:gd name="connsiteY2" fmla="*/ 7606 h 2793949"/>
                <a:gd name="connsiteX3" fmla="*/ 1691940 w 2785064"/>
                <a:gd name="connsiteY3" fmla="*/ 10812 h 2793949"/>
                <a:gd name="connsiteX4" fmla="*/ 1725721 w 2785064"/>
                <a:gd name="connsiteY4" fmla="*/ 18623 h 2793949"/>
                <a:gd name="connsiteX5" fmla="*/ 1758306 w 2785064"/>
                <a:gd name="connsiteY5" fmla="*/ 23316 h 2793949"/>
                <a:gd name="connsiteX6" fmla="*/ 1788821 w 2785064"/>
                <a:gd name="connsiteY6" fmla="*/ 33808 h 2793949"/>
                <a:gd name="connsiteX7" fmla="*/ 1851483 w 2785064"/>
                <a:gd name="connsiteY7" fmla="*/ 53453 h 2793949"/>
                <a:gd name="connsiteX8" fmla="*/ 1912076 w 2785064"/>
                <a:gd name="connsiteY8" fmla="*/ 78898 h 2793949"/>
                <a:gd name="connsiteX9" fmla="*/ 1970743 w 2785064"/>
                <a:gd name="connsiteY9" fmla="*/ 108657 h 2793949"/>
                <a:gd name="connsiteX10" fmla="*/ 2027632 w 2785064"/>
                <a:gd name="connsiteY10" fmla="*/ 141243 h 2793949"/>
                <a:gd name="connsiteX11" fmla="*/ 2079330 w 2785064"/>
                <a:gd name="connsiteY11" fmla="*/ 180824 h 2793949"/>
                <a:gd name="connsiteX12" fmla="*/ 2132369 w 2785064"/>
                <a:gd name="connsiteY12" fmla="*/ 222037 h 2793949"/>
                <a:gd name="connsiteX13" fmla="*/ 2183485 w 2785064"/>
                <a:gd name="connsiteY13" fmla="*/ 267565 h 2793949"/>
                <a:gd name="connsiteX14" fmla="*/ 2229845 w 2785064"/>
                <a:gd name="connsiteY14" fmla="*/ 315628 h 2793949"/>
                <a:gd name="connsiteX15" fmla="*/ 2277257 w 2785064"/>
                <a:gd name="connsiteY15" fmla="*/ 368296 h 2793949"/>
                <a:gd name="connsiteX16" fmla="*/ 2319914 w 2785064"/>
                <a:gd name="connsiteY16" fmla="*/ 423500 h 2793949"/>
                <a:gd name="connsiteX17" fmla="*/ 2362280 w 2785064"/>
                <a:gd name="connsiteY17" fmla="*/ 481678 h 2793949"/>
                <a:gd name="connsiteX18" fmla="*/ 2401525 w 2785064"/>
                <a:gd name="connsiteY18" fmla="*/ 541050 h 2793949"/>
                <a:gd name="connsiteX19" fmla="*/ 2440188 w 2785064"/>
                <a:gd name="connsiteY19" fmla="*/ 606368 h 2793949"/>
                <a:gd name="connsiteX20" fmla="*/ 2474533 w 2785064"/>
                <a:gd name="connsiteY20" fmla="*/ 669763 h 2793949"/>
                <a:gd name="connsiteX21" fmla="*/ 2506953 w 2785064"/>
                <a:gd name="connsiteY21" fmla="*/ 737471 h 2793949"/>
                <a:gd name="connsiteX22" fmla="*/ 2539228 w 2785064"/>
                <a:gd name="connsiteY22" fmla="*/ 806666 h 2793949"/>
                <a:gd name="connsiteX23" fmla="*/ 2569869 w 2785064"/>
                <a:gd name="connsiteY23" fmla="*/ 877202 h 2793949"/>
                <a:gd name="connsiteX24" fmla="*/ 2597390 w 2785064"/>
                <a:gd name="connsiteY24" fmla="*/ 948933 h 2793949"/>
                <a:gd name="connsiteX25" fmla="*/ 2623422 w 2785064"/>
                <a:gd name="connsiteY25" fmla="*/ 1020518 h 2793949"/>
                <a:gd name="connsiteX26" fmla="*/ 2647676 w 2785064"/>
                <a:gd name="connsiteY26" fmla="*/ 1094930 h 2793949"/>
                <a:gd name="connsiteX27" fmla="*/ 2668808 w 2785064"/>
                <a:gd name="connsiteY27" fmla="*/ 1170537 h 2793949"/>
                <a:gd name="connsiteX28" fmla="*/ 2688308 w 2785064"/>
                <a:gd name="connsiteY28" fmla="*/ 1247485 h 2793949"/>
                <a:gd name="connsiteX29" fmla="*/ 2707952 w 2785064"/>
                <a:gd name="connsiteY29" fmla="*/ 1322947 h 2793949"/>
                <a:gd name="connsiteX30" fmla="*/ 2723134 w 2785064"/>
                <a:gd name="connsiteY30" fmla="*/ 1397971 h 2793949"/>
                <a:gd name="connsiteX31" fmla="*/ 2738170 w 2785064"/>
                <a:gd name="connsiteY31" fmla="*/ 1474482 h 2793949"/>
                <a:gd name="connsiteX32" fmla="*/ 2751864 w 2785064"/>
                <a:gd name="connsiteY32" fmla="*/ 1549361 h 2793949"/>
                <a:gd name="connsiteX33" fmla="*/ 2761095 w 2785064"/>
                <a:gd name="connsiteY33" fmla="*/ 1623802 h 2793949"/>
                <a:gd name="connsiteX34" fmla="*/ 2770325 w 2785064"/>
                <a:gd name="connsiteY34" fmla="*/ 1698244 h 2793949"/>
                <a:gd name="connsiteX35" fmla="*/ 2776726 w 2785064"/>
                <a:gd name="connsiteY35" fmla="*/ 1770908 h 2793949"/>
                <a:gd name="connsiteX36" fmla="*/ 2780151 w 2785064"/>
                <a:gd name="connsiteY36" fmla="*/ 1843280 h 2793949"/>
                <a:gd name="connsiteX37" fmla="*/ 2785064 w 2785064"/>
                <a:gd name="connsiteY37" fmla="*/ 1915798 h 2793949"/>
                <a:gd name="connsiteX38" fmla="*/ 2783267 w 2785064"/>
                <a:gd name="connsiteY38" fmla="*/ 1980155 h 2793949"/>
                <a:gd name="connsiteX39" fmla="*/ 2778348 w 2785064"/>
                <a:gd name="connsiteY39" fmla="*/ 2045706 h 2793949"/>
                <a:gd name="connsiteX40" fmla="*/ 2767915 w 2785064"/>
                <a:gd name="connsiteY40" fmla="*/ 2106216 h 2793949"/>
                <a:gd name="connsiteX41" fmla="*/ 2753310 w 2785064"/>
                <a:gd name="connsiteY41" fmla="*/ 2163315 h 2793949"/>
                <a:gd name="connsiteX42" fmla="*/ 2734242 w 2785064"/>
                <a:gd name="connsiteY42" fmla="*/ 2219977 h 2793949"/>
                <a:gd name="connsiteX43" fmla="*/ 2713977 w 2785064"/>
                <a:gd name="connsiteY43" fmla="*/ 2273520 h 2793949"/>
                <a:gd name="connsiteX44" fmla="*/ 2686420 w 2785064"/>
                <a:gd name="connsiteY44" fmla="*/ 2324849 h 2793949"/>
                <a:gd name="connsiteX45" fmla="*/ 2654544 w 2785064"/>
                <a:gd name="connsiteY45" fmla="*/ 2374253 h 2793949"/>
                <a:gd name="connsiteX46" fmla="*/ 2621472 w 2785064"/>
                <a:gd name="connsiteY46" fmla="*/ 2420539 h 2793949"/>
                <a:gd name="connsiteX47" fmla="*/ 2585716 w 2785064"/>
                <a:gd name="connsiteY47" fmla="*/ 2463560 h 2793949"/>
                <a:gd name="connsiteX48" fmla="*/ 2542667 w 2785064"/>
                <a:gd name="connsiteY48" fmla="*/ 2504367 h 2793949"/>
                <a:gd name="connsiteX49" fmla="*/ 2501396 w 2785064"/>
                <a:gd name="connsiteY49" fmla="*/ 2542346 h 2793949"/>
                <a:gd name="connsiteX50" fmla="*/ 2452833 w 2785064"/>
                <a:gd name="connsiteY50" fmla="*/ 2578109 h 2793949"/>
                <a:gd name="connsiteX51" fmla="*/ 2404415 w 2785064"/>
                <a:gd name="connsiteY51" fmla="*/ 2612387 h 2793949"/>
                <a:gd name="connsiteX52" fmla="*/ 2352116 w 2785064"/>
                <a:gd name="connsiteY52" fmla="*/ 2640281 h 2793949"/>
                <a:gd name="connsiteX53" fmla="*/ 2299817 w 2785064"/>
                <a:gd name="connsiteY53" fmla="*/ 2668175 h 2793949"/>
                <a:gd name="connsiteX54" fmla="*/ 2244834 w 2785064"/>
                <a:gd name="connsiteY54" fmla="*/ 2692805 h 2793949"/>
                <a:gd name="connsiteX55" fmla="*/ 2185534 w 2785064"/>
                <a:gd name="connsiteY55" fmla="*/ 2715511 h 2793949"/>
                <a:gd name="connsiteX56" fmla="*/ 2128012 w 2785064"/>
                <a:gd name="connsiteY56" fmla="*/ 2735389 h 2793949"/>
                <a:gd name="connsiteX57" fmla="*/ 2066318 w 2785064"/>
                <a:gd name="connsiteY57" fmla="*/ 2751858 h 2793949"/>
                <a:gd name="connsiteX58" fmla="*/ 2003428 w 2785064"/>
                <a:gd name="connsiteY58" fmla="*/ 2765208 h 2793949"/>
                <a:gd name="connsiteX59" fmla="*/ 1939196 w 2785064"/>
                <a:gd name="connsiteY59" fmla="*/ 2776926 h 2793949"/>
                <a:gd name="connsiteX60" fmla="*/ 1876742 w 2785064"/>
                <a:gd name="connsiteY60" fmla="*/ 2785816 h 2793949"/>
                <a:gd name="connsiteX61" fmla="*/ 1810117 w 2785064"/>
                <a:gd name="connsiteY61" fmla="*/ 2791296 h 2793949"/>
                <a:gd name="connsiteX62" fmla="*/ 1745271 w 2785064"/>
                <a:gd name="connsiteY62" fmla="*/ 2793949 h 2793949"/>
                <a:gd name="connsiteX63" fmla="*/ 1677740 w 2785064"/>
                <a:gd name="connsiteY63" fmla="*/ 2793338 h 2793949"/>
                <a:gd name="connsiteX64" fmla="*/ 1610355 w 2785064"/>
                <a:gd name="connsiteY64" fmla="*/ 2791239 h 2793949"/>
                <a:gd name="connsiteX65" fmla="*/ 1543115 w 2785064"/>
                <a:gd name="connsiteY65" fmla="*/ 2787655 h 2793949"/>
                <a:gd name="connsiteX66" fmla="*/ 1477946 w 2785064"/>
                <a:gd name="connsiteY66" fmla="*/ 2778270 h 2793949"/>
                <a:gd name="connsiteX67" fmla="*/ 1411434 w 2785064"/>
                <a:gd name="connsiteY67" fmla="*/ 2767253 h 2793949"/>
                <a:gd name="connsiteX68" fmla="*/ 1345359 w 2785064"/>
                <a:gd name="connsiteY68" fmla="*/ 2751776 h 2793949"/>
                <a:gd name="connsiteX69" fmla="*/ 1279285 w 2785064"/>
                <a:gd name="connsiteY69" fmla="*/ 2736300 h 2793949"/>
                <a:gd name="connsiteX70" fmla="*/ 1146521 w 2785064"/>
                <a:gd name="connsiteY70" fmla="*/ 2696282 h 2793949"/>
                <a:gd name="connsiteX71" fmla="*/ 1015536 w 2785064"/>
                <a:gd name="connsiteY71" fmla="*/ 2653437 h 2793949"/>
                <a:gd name="connsiteX72" fmla="*/ 953311 w 2785064"/>
                <a:gd name="connsiteY72" fmla="*/ 2629333 h 2793949"/>
                <a:gd name="connsiteX73" fmla="*/ 891085 w 2785064"/>
                <a:gd name="connsiteY73" fmla="*/ 2605228 h 2793949"/>
                <a:gd name="connsiteX74" fmla="*/ 827663 w 2785064"/>
                <a:gd name="connsiteY74" fmla="*/ 2578006 h 2793949"/>
                <a:gd name="connsiteX75" fmla="*/ 768849 w 2785064"/>
                <a:gd name="connsiteY75" fmla="*/ 2549733 h 2793949"/>
                <a:gd name="connsiteX76" fmla="*/ 710036 w 2785064"/>
                <a:gd name="connsiteY76" fmla="*/ 2521461 h 2793949"/>
                <a:gd name="connsiteX77" fmla="*/ 652856 w 2785064"/>
                <a:gd name="connsiteY77" fmla="*/ 2491848 h 2793949"/>
                <a:gd name="connsiteX78" fmla="*/ 597309 w 2785064"/>
                <a:gd name="connsiteY78" fmla="*/ 2460895 h 2793949"/>
                <a:gd name="connsiteX79" fmla="*/ 542054 w 2785064"/>
                <a:gd name="connsiteY79" fmla="*/ 2426968 h 2793949"/>
                <a:gd name="connsiteX80" fmla="*/ 491262 w 2785064"/>
                <a:gd name="connsiteY80" fmla="*/ 2393478 h 2793949"/>
                <a:gd name="connsiteX81" fmla="*/ 442103 w 2785064"/>
                <a:gd name="connsiteY81" fmla="*/ 2358648 h 2793949"/>
                <a:gd name="connsiteX82" fmla="*/ 393235 w 2785064"/>
                <a:gd name="connsiteY82" fmla="*/ 2320844 h 2793949"/>
                <a:gd name="connsiteX83" fmla="*/ 347488 w 2785064"/>
                <a:gd name="connsiteY83" fmla="*/ 2281846 h 2793949"/>
                <a:gd name="connsiteX84" fmla="*/ 304863 w 2785064"/>
                <a:gd name="connsiteY84" fmla="*/ 2241653 h 2793949"/>
                <a:gd name="connsiteX85" fmla="*/ 263579 w 2785064"/>
                <a:gd name="connsiteY85" fmla="*/ 2203091 h 2793949"/>
                <a:gd name="connsiteX86" fmla="*/ 225854 w 2785064"/>
                <a:gd name="connsiteY86" fmla="*/ 2158875 h 2793949"/>
                <a:gd name="connsiteX87" fmla="*/ 189907 w 2785064"/>
                <a:gd name="connsiteY87" fmla="*/ 2111833 h 2793949"/>
                <a:gd name="connsiteX88" fmla="*/ 155303 w 2785064"/>
                <a:gd name="connsiteY88" fmla="*/ 2066422 h 2793949"/>
                <a:gd name="connsiteX89" fmla="*/ 126941 w 2785064"/>
                <a:gd name="connsiteY89" fmla="*/ 2018621 h 2793949"/>
                <a:gd name="connsiteX90" fmla="*/ 98724 w 2785064"/>
                <a:gd name="connsiteY90" fmla="*/ 1969333 h 2793949"/>
                <a:gd name="connsiteX91" fmla="*/ 73774 w 2785064"/>
                <a:gd name="connsiteY91" fmla="*/ 1917364 h 2793949"/>
                <a:gd name="connsiteX92" fmla="*/ 55066 w 2785064"/>
                <a:gd name="connsiteY92" fmla="*/ 1863005 h 2793949"/>
                <a:gd name="connsiteX93" fmla="*/ 34871 w 2785064"/>
                <a:gd name="connsiteY93" fmla="*/ 1808500 h 2793949"/>
                <a:gd name="connsiteX94" fmla="*/ 22551 w 2785064"/>
                <a:gd name="connsiteY94" fmla="*/ 1750264 h 2793949"/>
                <a:gd name="connsiteX95" fmla="*/ 10376 w 2785064"/>
                <a:gd name="connsiteY95" fmla="*/ 1690542 h 2793949"/>
                <a:gd name="connsiteX96" fmla="*/ 5786 w 2785064"/>
                <a:gd name="connsiteY96" fmla="*/ 1630062 h 2793949"/>
                <a:gd name="connsiteX97" fmla="*/ 0 w 2785064"/>
                <a:gd name="connsiteY97" fmla="*/ 1566463 h 2793949"/>
                <a:gd name="connsiteX98" fmla="*/ 1797 w 2785064"/>
                <a:gd name="connsiteY98" fmla="*/ 1502106 h 2793949"/>
                <a:gd name="connsiteX99" fmla="*/ 7153 w 2785064"/>
                <a:gd name="connsiteY99" fmla="*/ 1432095 h 2793949"/>
                <a:gd name="connsiteX100" fmla="*/ 15775 w 2785064"/>
                <a:gd name="connsiteY100" fmla="*/ 1359402 h 2793949"/>
                <a:gd name="connsiteX101" fmla="*/ 30348 w 2785064"/>
                <a:gd name="connsiteY101" fmla="*/ 1287292 h 2793949"/>
                <a:gd name="connsiteX102" fmla="*/ 50873 w 2785064"/>
                <a:gd name="connsiteY102" fmla="*/ 1215765 h 2793949"/>
                <a:gd name="connsiteX103" fmla="*/ 73030 w 2785064"/>
                <a:gd name="connsiteY103" fmla="*/ 1142897 h 2793949"/>
                <a:gd name="connsiteX104" fmla="*/ 100993 w 2785064"/>
                <a:gd name="connsiteY104" fmla="*/ 1072099 h 2793949"/>
                <a:gd name="connsiteX105" fmla="*/ 131786 w 2785064"/>
                <a:gd name="connsiteY105" fmla="*/ 1003078 h 2793949"/>
                <a:gd name="connsiteX106" fmla="*/ 168675 w 2785064"/>
                <a:gd name="connsiteY106" fmla="*/ 933154 h 2793949"/>
                <a:gd name="connsiteX107" fmla="*/ 208394 w 2785064"/>
                <a:gd name="connsiteY107" fmla="*/ 865008 h 2793949"/>
                <a:gd name="connsiteX108" fmla="*/ 251089 w 2785064"/>
                <a:gd name="connsiteY108" fmla="*/ 797153 h 2793949"/>
                <a:gd name="connsiteX109" fmla="*/ 297956 w 2785064"/>
                <a:gd name="connsiteY109" fmla="*/ 732709 h 2793949"/>
                <a:gd name="connsiteX110" fmla="*/ 346165 w 2785064"/>
                <a:gd name="connsiteY110" fmla="*/ 669896 h 2793949"/>
                <a:gd name="connsiteX111" fmla="*/ 397349 w 2785064"/>
                <a:gd name="connsiteY111" fmla="*/ 607375 h 2793949"/>
                <a:gd name="connsiteX112" fmla="*/ 452705 w 2785064"/>
                <a:gd name="connsiteY112" fmla="*/ 548265 h 2793949"/>
                <a:gd name="connsiteX113" fmla="*/ 509549 w 2785064"/>
                <a:gd name="connsiteY113" fmla="*/ 489300 h 2793949"/>
                <a:gd name="connsiteX114" fmla="*/ 569078 w 2785064"/>
                <a:gd name="connsiteY114" fmla="*/ 433599 h 2793949"/>
                <a:gd name="connsiteX115" fmla="*/ 631290 w 2785064"/>
                <a:gd name="connsiteY115" fmla="*/ 381163 h 2793949"/>
                <a:gd name="connsiteX116" fmla="*/ 693212 w 2785064"/>
                <a:gd name="connsiteY116" fmla="*/ 331700 h 2793949"/>
                <a:gd name="connsiteX117" fmla="*/ 756475 w 2785064"/>
                <a:gd name="connsiteY117" fmla="*/ 283869 h 2793949"/>
                <a:gd name="connsiteX118" fmla="*/ 823911 w 2785064"/>
                <a:gd name="connsiteY118" fmla="*/ 239449 h 2793949"/>
                <a:gd name="connsiteX119" fmla="*/ 891055 w 2785064"/>
                <a:gd name="connsiteY119" fmla="*/ 198001 h 2793949"/>
                <a:gd name="connsiteX120" fmla="*/ 959251 w 2785064"/>
                <a:gd name="connsiteY120" fmla="*/ 161158 h 2793949"/>
                <a:gd name="connsiteX121" fmla="*/ 1030130 w 2785064"/>
                <a:gd name="connsiteY121" fmla="*/ 127580 h 2793949"/>
                <a:gd name="connsiteX122" fmla="*/ 1097889 w 2785064"/>
                <a:gd name="connsiteY122" fmla="*/ 95198 h 2793949"/>
                <a:gd name="connsiteX123" fmla="*/ 1171016 w 2785064"/>
                <a:gd name="connsiteY123" fmla="*/ 69344 h 2793949"/>
                <a:gd name="connsiteX124" fmla="*/ 1240876 w 2785064"/>
                <a:gd name="connsiteY124" fmla="*/ 46171 h 2793949"/>
                <a:gd name="connsiteX125" fmla="*/ 1311642 w 2785064"/>
                <a:gd name="connsiteY125" fmla="*/ 29090 h 2793949"/>
                <a:gd name="connsiteX126" fmla="*/ 1381971 w 2785064"/>
                <a:gd name="connsiteY126" fmla="*/ 16469 h 2793949"/>
                <a:gd name="connsiteX127" fmla="*/ 1452154 w 2785064"/>
                <a:gd name="connsiteY127" fmla="*/ 5334 h 2793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</a:cxnLst>
              <a:rect l="l" t="t" r="r" b="b"/>
              <a:pathLst>
                <a:path w="2785064" h="2793949">
                  <a:moveTo>
                    <a:pt x="1520268" y="0"/>
                  </a:moveTo>
                  <a:lnTo>
                    <a:pt x="1590774" y="903"/>
                  </a:lnTo>
                  <a:lnTo>
                    <a:pt x="1659210" y="7606"/>
                  </a:lnTo>
                  <a:lnTo>
                    <a:pt x="1691940" y="10812"/>
                  </a:lnTo>
                  <a:lnTo>
                    <a:pt x="1725721" y="18623"/>
                  </a:lnTo>
                  <a:lnTo>
                    <a:pt x="1758306" y="23316"/>
                  </a:lnTo>
                  <a:lnTo>
                    <a:pt x="1788821" y="33808"/>
                  </a:lnTo>
                  <a:lnTo>
                    <a:pt x="1851483" y="53453"/>
                  </a:lnTo>
                  <a:lnTo>
                    <a:pt x="1912076" y="78898"/>
                  </a:lnTo>
                  <a:lnTo>
                    <a:pt x="1970743" y="108657"/>
                  </a:lnTo>
                  <a:lnTo>
                    <a:pt x="2027632" y="141243"/>
                  </a:lnTo>
                  <a:lnTo>
                    <a:pt x="2079330" y="180824"/>
                  </a:lnTo>
                  <a:lnTo>
                    <a:pt x="2132369" y="222037"/>
                  </a:lnTo>
                  <a:lnTo>
                    <a:pt x="2183485" y="267565"/>
                  </a:lnTo>
                  <a:lnTo>
                    <a:pt x="2229845" y="315628"/>
                  </a:lnTo>
                  <a:lnTo>
                    <a:pt x="2277257" y="368296"/>
                  </a:lnTo>
                  <a:lnTo>
                    <a:pt x="2319914" y="423500"/>
                  </a:lnTo>
                  <a:lnTo>
                    <a:pt x="2362280" y="481678"/>
                  </a:lnTo>
                  <a:lnTo>
                    <a:pt x="2401525" y="541050"/>
                  </a:lnTo>
                  <a:lnTo>
                    <a:pt x="2440188" y="606368"/>
                  </a:lnTo>
                  <a:lnTo>
                    <a:pt x="2474533" y="669763"/>
                  </a:lnTo>
                  <a:lnTo>
                    <a:pt x="2506953" y="737471"/>
                  </a:lnTo>
                  <a:lnTo>
                    <a:pt x="2539228" y="806666"/>
                  </a:lnTo>
                  <a:lnTo>
                    <a:pt x="2569869" y="877202"/>
                  </a:lnTo>
                  <a:lnTo>
                    <a:pt x="2597390" y="948933"/>
                  </a:lnTo>
                  <a:lnTo>
                    <a:pt x="2623422" y="1020518"/>
                  </a:lnTo>
                  <a:lnTo>
                    <a:pt x="2647676" y="1094930"/>
                  </a:lnTo>
                  <a:lnTo>
                    <a:pt x="2668808" y="1170537"/>
                  </a:lnTo>
                  <a:lnTo>
                    <a:pt x="2688308" y="1247485"/>
                  </a:lnTo>
                  <a:lnTo>
                    <a:pt x="2707952" y="1322947"/>
                  </a:lnTo>
                  <a:lnTo>
                    <a:pt x="2723134" y="1397971"/>
                  </a:lnTo>
                  <a:lnTo>
                    <a:pt x="2738170" y="1474482"/>
                  </a:lnTo>
                  <a:lnTo>
                    <a:pt x="2751864" y="1549361"/>
                  </a:lnTo>
                  <a:lnTo>
                    <a:pt x="2761095" y="1623802"/>
                  </a:lnTo>
                  <a:lnTo>
                    <a:pt x="2770325" y="1698244"/>
                  </a:lnTo>
                  <a:lnTo>
                    <a:pt x="2776726" y="1770908"/>
                  </a:lnTo>
                  <a:lnTo>
                    <a:pt x="2780151" y="1843280"/>
                  </a:lnTo>
                  <a:lnTo>
                    <a:pt x="2785064" y="1915798"/>
                  </a:lnTo>
                  <a:lnTo>
                    <a:pt x="2783267" y="1980155"/>
                  </a:lnTo>
                  <a:lnTo>
                    <a:pt x="2778348" y="2045706"/>
                  </a:lnTo>
                  <a:lnTo>
                    <a:pt x="2767915" y="2106216"/>
                  </a:lnTo>
                  <a:lnTo>
                    <a:pt x="2753310" y="2163315"/>
                  </a:lnTo>
                  <a:lnTo>
                    <a:pt x="2734242" y="2219977"/>
                  </a:lnTo>
                  <a:lnTo>
                    <a:pt x="2713977" y="2273520"/>
                  </a:lnTo>
                  <a:lnTo>
                    <a:pt x="2686420" y="2324849"/>
                  </a:lnTo>
                  <a:lnTo>
                    <a:pt x="2654544" y="2374253"/>
                  </a:lnTo>
                  <a:lnTo>
                    <a:pt x="2621472" y="2420539"/>
                  </a:lnTo>
                  <a:lnTo>
                    <a:pt x="2585716" y="2463560"/>
                  </a:lnTo>
                  <a:lnTo>
                    <a:pt x="2542667" y="2504367"/>
                  </a:lnTo>
                  <a:lnTo>
                    <a:pt x="2501396" y="2542346"/>
                  </a:lnTo>
                  <a:lnTo>
                    <a:pt x="2452833" y="2578109"/>
                  </a:lnTo>
                  <a:lnTo>
                    <a:pt x="2404415" y="2612387"/>
                  </a:lnTo>
                  <a:lnTo>
                    <a:pt x="2352116" y="2640281"/>
                  </a:lnTo>
                  <a:lnTo>
                    <a:pt x="2299817" y="2668175"/>
                  </a:lnTo>
                  <a:lnTo>
                    <a:pt x="2244834" y="2692805"/>
                  </a:lnTo>
                  <a:lnTo>
                    <a:pt x="2185534" y="2715511"/>
                  </a:lnTo>
                  <a:lnTo>
                    <a:pt x="2128012" y="2735389"/>
                  </a:lnTo>
                  <a:lnTo>
                    <a:pt x="2066318" y="2751858"/>
                  </a:lnTo>
                  <a:lnTo>
                    <a:pt x="2003428" y="2765208"/>
                  </a:lnTo>
                  <a:lnTo>
                    <a:pt x="1939196" y="2776926"/>
                  </a:lnTo>
                  <a:lnTo>
                    <a:pt x="1876742" y="2785816"/>
                  </a:lnTo>
                  <a:lnTo>
                    <a:pt x="1810117" y="2791296"/>
                  </a:lnTo>
                  <a:lnTo>
                    <a:pt x="1745271" y="2793949"/>
                  </a:lnTo>
                  <a:lnTo>
                    <a:pt x="1677740" y="2793338"/>
                  </a:lnTo>
                  <a:lnTo>
                    <a:pt x="1610355" y="2791239"/>
                  </a:lnTo>
                  <a:lnTo>
                    <a:pt x="1543115" y="2787655"/>
                  </a:lnTo>
                  <a:lnTo>
                    <a:pt x="1477946" y="2778270"/>
                  </a:lnTo>
                  <a:lnTo>
                    <a:pt x="1411434" y="2767253"/>
                  </a:lnTo>
                  <a:lnTo>
                    <a:pt x="1345359" y="2751776"/>
                  </a:lnTo>
                  <a:lnTo>
                    <a:pt x="1279285" y="2736300"/>
                  </a:lnTo>
                  <a:lnTo>
                    <a:pt x="1146521" y="2696282"/>
                  </a:lnTo>
                  <a:lnTo>
                    <a:pt x="1015536" y="2653437"/>
                  </a:lnTo>
                  <a:lnTo>
                    <a:pt x="953311" y="2629333"/>
                  </a:lnTo>
                  <a:lnTo>
                    <a:pt x="891085" y="2605228"/>
                  </a:lnTo>
                  <a:lnTo>
                    <a:pt x="827663" y="2578006"/>
                  </a:lnTo>
                  <a:lnTo>
                    <a:pt x="768849" y="2549733"/>
                  </a:lnTo>
                  <a:lnTo>
                    <a:pt x="710036" y="2521461"/>
                  </a:lnTo>
                  <a:lnTo>
                    <a:pt x="652856" y="2491848"/>
                  </a:lnTo>
                  <a:lnTo>
                    <a:pt x="597309" y="2460895"/>
                  </a:lnTo>
                  <a:lnTo>
                    <a:pt x="542054" y="2426968"/>
                  </a:lnTo>
                  <a:lnTo>
                    <a:pt x="491262" y="2393478"/>
                  </a:lnTo>
                  <a:lnTo>
                    <a:pt x="442103" y="2358648"/>
                  </a:lnTo>
                  <a:lnTo>
                    <a:pt x="393235" y="2320844"/>
                  </a:lnTo>
                  <a:lnTo>
                    <a:pt x="347488" y="2281846"/>
                  </a:lnTo>
                  <a:lnTo>
                    <a:pt x="304863" y="2241653"/>
                  </a:lnTo>
                  <a:lnTo>
                    <a:pt x="263579" y="2203091"/>
                  </a:lnTo>
                  <a:lnTo>
                    <a:pt x="225854" y="2158875"/>
                  </a:lnTo>
                  <a:lnTo>
                    <a:pt x="189907" y="2111833"/>
                  </a:lnTo>
                  <a:lnTo>
                    <a:pt x="155303" y="2066422"/>
                  </a:lnTo>
                  <a:lnTo>
                    <a:pt x="126941" y="2018621"/>
                  </a:lnTo>
                  <a:lnTo>
                    <a:pt x="98724" y="1969333"/>
                  </a:lnTo>
                  <a:lnTo>
                    <a:pt x="73774" y="1917364"/>
                  </a:lnTo>
                  <a:lnTo>
                    <a:pt x="55066" y="1863005"/>
                  </a:lnTo>
                  <a:lnTo>
                    <a:pt x="34871" y="1808500"/>
                  </a:lnTo>
                  <a:lnTo>
                    <a:pt x="22551" y="1750264"/>
                  </a:lnTo>
                  <a:lnTo>
                    <a:pt x="10376" y="1690542"/>
                  </a:lnTo>
                  <a:lnTo>
                    <a:pt x="5786" y="1630062"/>
                  </a:lnTo>
                  <a:lnTo>
                    <a:pt x="0" y="1566463"/>
                  </a:lnTo>
                  <a:lnTo>
                    <a:pt x="1797" y="1502106"/>
                  </a:lnTo>
                  <a:lnTo>
                    <a:pt x="7153" y="1432095"/>
                  </a:lnTo>
                  <a:lnTo>
                    <a:pt x="15775" y="1359402"/>
                  </a:lnTo>
                  <a:lnTo>
                    <a:pt x="30348" y="1287292"/>
                  </a:lnTo>
                  <a:lnTo>
                    <a:pt x="50873" y="1215765"/>
                  </a:lnTo>
                  <a:lnTo>
                    <a:pt x="73030" y="1142897"/>
                  </a:lnTo>
                  <a:lnTo>
                    <a:pt x="100993" y="1072099"/>
                  </a:lnTo>
                  <a:lnTo>
                    <a:pt x="131786" y="1003078"/>
                  </a:lnTo>
                  <a:lnTo>
                    <a:pt x="168675" y="933154"/>
                  </a:lnTo>
                  <a:lnTo>
                    <a:pt x="208394" y="865008"/>
                  </a:lnTo>
                  <a:lnTo>
                    <a:pt x="251089" y="797153"/>
                  </a:lnTo>
                  <a:lnTo>
                    <a:pt x="297956" y="732709"/>
                  </a:lnTo>
                  <a:lnTo>
                    <a:pt x="346165" y="669896"/>
                  </a:lnTo>
                  <a:lnTo>
                    <a:pt x="397349" y="607375"/>
                  </a:lnTo>
                  <a:lnTo>
                    <a:pt x="452705" y="548265"/>
                  </a:lnTo>
                  <a:lnTo>
                    <a:pt x="509549" y="489300"/>
                  </a:lnTo>
                  <a:lnTo>
                    <a:pt x="569078" y="433599"/>
                  </a:lnTo>
                  <a:lnTo>
                    <a:pt x="631290" y="381163"/>
                  </a:lnTo>
                  <a:lnTo>
                    <a:pt x="693212" y="331700"/>
                  </a:lnTo>
                  <a:lnTo>
                    <a:pt x="756475" y="283869"/>
                  </a:lnTo>
                  <a:lnTo>
                    <a:pt x="823911" y="239449"/>
                  </a:lnTo>
                  <a:lnTo>
                    <a:pt x="891055" y="198001"/>
                  </a:lnTo>
                  <a:lnTo>
                    <a:pt x="959251" y="161158"/>
                  </a:lnTo>
                  <a:lnTo>
                    <a:pt x="1030130" y="127580"/>
                  </a:lnTo>
                  <a:lnTo>
                    <a:pt x="1097889" y="95198"/>
                  </a:lnTo>
                  <a:lnTo>
                    <a:pt x="1171016" y="69344"/>
                  </a:lnTo>
                  <a:lnTo>
                    <a:pt x="1240876" y="46171"/>
                  </a:lnTo>
                  <a:lnTo>
                    <a:pt x="1311642" y="29090"/>
                  </a:lnTo>
                  <a:lnTo>
                    <a:pt x="1381971" y="16469"/>
                  </a:lnTo>
                  <a:lnTo>
                    <a:pt x="1452154" y="5334"/>
                  </a:lnTo>
                  <a:close/>
                </a:path>
              </a:pathLst>
            </a:custGeom>
            <a:solidFill>
              <a:srgbClr val="FEFFFF"/>
            </a:solidFill>
            <a:ln w="76200"/>
          </p:spPr>
          <p:style>
            <a:lnRef idx="2">
              <a:srgbClr val="92D050">
                <a:shade val="50000"/>
              </a:srgbClr>
            </a:lnRef>
            <a:fillRef idx="1">
              <a:srgbClr val="92D050"/>
            </a:fillRef>
            <a:effectRef idx="0">
              <a:srgbClr val="92D050"/>
            </a:effectRef>
            <a:fontRef idx="minor">
              <a:sysClr val="window" lastClr="FFFFFF"/>
            </a:fontRef>
          </p:style>
          <p:txBody>
            <a:bodyPr rtlCol="0" anchor="ctr"/>
            <a:lstStyle/>
            <a:p>
              <a:pPr algn="ctr"/>
              <a:r>
                <a:rPr lang="zh-CN" altLang="en-US" sz="2400" b="1" smtClean="0">
                  <a:solidFill>
                    <a:srgbClr val="92D050"/>
                  </a:solidFill>
                </a:rPr>
                <a:t>技术支持</a:t>
              </a:r>
              <a:endParaRPr lang="zh-CN" altLang="en-US" sz="2400" b="1" smtClean="0">
                <a:solidFill>
                  <a:srgbClr val="92D050"/>
                </a:solidFill>
              </a:endParaRPr>
            </a:p>
          </p:txBody>
        </p:sp>
        <p:grpSp>
          <p:nvGrpSpPr>
            <p:cNvPr id="2" name="组合 1"/>
            <p:cNvGrpSpPr/>
            <p:nvPr>
              <p:custDataLst>
                <p:tags r:id="rId2"/>
              </p:custDataLst>
            </p:nvPr>
          </p:nvGrpSpPr>
          <p:grpSpPr>
            <a:xfrm>
              <a:off x="10282" y="6375"/>
              <a:ext cx="1143" cy="9650"/>
              <a:chOff x="5533611" y="3680354"/>
              <a:chExt cx="725662" cy="6128026"/>
            </a:xfrm>
          </p:grpSpPr>
          <p:sp>
            <p:nvSpPr>
              <p:cNvPr id="3" name="Rectangle 100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5533611" y="5514770"/>
                <a:ext cx="725662" cy="429361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ysClr val="window" lastClr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5F5F5F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b="1" smtClean="0">
                    <a:solidFill>
                      <a:srgbClr val="92D050"/>
                    </a:solidFill>
                  </a:rPr>
                  <a:t>标签</a:t>
                </a:r>
                <a:r>
                  <a:rPr lang="zh-CN" altLang="en-US" b="1" smtClean="0">
                    <a:solidFill>
                      <a:srgbClr val="92D050"/>
                    </a:solidFill>
                  </a:rPr>
                  <a:t>分类</a:t>
                </a:r>
                <a:r>
                  <a:rPr lang="en-US" altLang="zh-CN" b="1" smtClean="0">
                    <a:solidFill>
                      <a:srgbClr val="92D050"/>
                    </a:solidFill>
                  </a:rPr>
                  <a:t>&amp;</a:t>
                </a:r>
                <a:endParaRPr lang="en-US" altLang="zh-CN" b="1" smtClean="0">
                  <a:solidFill>
                    <a:srgbClr val="92D050"/>
                  </a:solidFill>
                </a:endParaRPr>
              </a:p>
              <a:p>
                <a:pPr algn="ctr"/>
                <a:r>
                  <a:rPr lang="zh-CN" altLang="en-US" b="1" smtClean="0">
                    <a:solidFill>
                      <a:srgbClr val="92D050"/>
                    </a:solidFill>
                  </a:rPr>
                  <a:t>视频推荐</a:t>
                </a:r>
                <a:endParaRPr lang="zh-CN" altLang="en-US" b="1" smtClean="0">
                  <a:solidFill>
                    <a:srgbClr val="92D050"/>
                  </a:solidFill>
                </a:endParaRPr>
              </a:p>
            </p:txBody>
          </p:sp>
          <p:sp>
            <p:nvSpPr>
              <p:cNvPr id="14" name="Line 92"/>
              <p:cNvSpPr>
                <a:spLocks noChangeShapeType="1"/>
              </p:cNvSpPr>
              <p:nvPr>
                <p:custDataLst>
                  <p:tags r:id="rId4"/>
                </p:custDataLst>
              </p:nvPr>
            </p:nvSpPr>
            <p:spPr bwMode="auto">
              <a:xfrm flipH="1">
                <a:off x="5896441" y="3756183"/>
                <a:ext cx="0" cy="1637084"/>
              </a:xfrm>
              <a:prstGeom prst="line">
                <a:avLst/>
              </a:prstGeom>
              <a:noFill/>
              <a:ln w="19050">
                <a:solidFill>
                  <a:srgbClr val="92D050">
                    <a:lumMod val="60000"/>
                    <a:lumOff val="40000"/>
                  </a:srgbClr>
                </a:solidFill>
                <a:prstDash val="sysDot"/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" name="Oval 140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832317" y="3680354"/>
                <a:ext cx="126449" cy="126449"/>
              </a:xfrm>
              <a:prstGeom prst="ellipse">
                <a:avLst/>
              </a:prstGeom>
              <a:solidFill>
                <a:srgbClr val="FEFFFF"/>
              </a:solidFill>
              <a:ln w="38100">
                <a:solidFill>
                  <a:srgbClr val="92D050">
                    <a:lumMod val="60000"/>
                    <a:lumOff val="40000"/>
                  </a:srgbClr>
                </a:solidFill>
              </a:ln>
            </p:spPr>
            <p:txBody>
              <a:bodyPr wrap="none" anchor="ctr"/>
              <a:lstStyle>
                <a:lvl1pPr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1pPr>
                <a:lvl2pPr marL="742950" indent="-28575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2pPr>
                <a:lvl3pPr marL="1143000" indent="-22860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3pPr>
                <a:lvl4pPr marL="1600200" indent="-22860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4pPr>
                <a:lvl5pPr marL="2057400" indent="-22860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5pPr>
                <a:lvl6pPr marL="25146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6pPr>
                <a:lvl7pPr marL="29718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7pPr>
                <a:lvl8pPr marL="34290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8pPr>
                <a:lvl9pPr marL="38862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9pPr>
              </a:lstStyle>
              <a:p>
                <a:pPr algn="ctr"/>
                <a:endParaRPr lang="ko-KR" altLang="ko-KR">
                  <a:latin typeface="Calibri" panose="020F0502020204030204"/>
                  <a:ea typeface="Malgun Gothic" panose="020B0503020000020004" charset="-127"/>
                </a:endParaRPr>
              </a:p>
            </p:txBody>
          </p:sp>
        </p:grpSp>
        <p:grpSp>
          <p:nvGrpSpPr>
            <p:cNvPr id="13" name="组合 12"/>
            <p:cNvGrpSpPr/>
            <p:nvPr>
              <p:custDataLst>
                <p:tags r:id="rId6"/>
              </p:custDataLst>
            </p:nvPr>
          </p:nvGrpSpPr>
          <p:grpSpPr>
            <a:xfrm>
              <a:off x="8843" y="6327"/>
              <a:ext cx="1143" cy="6297"/>
              <a:chOff x="4635653" y="3980064"/>
              <a:chExt cx="725662" cy="3998686"/>
            </a:xfrm>
          </p:grpSpPr>
          <p:sp>
            <p:nvSpPr>
              <p:cNvPr id="15" name="Rectangle 113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4635653" y="5066058"/>
                <a:ext cx="725662" cy="291269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ysClr val="window" lastClr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5F5F5F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b="1" smtClean="0">
                    <a:solidFill>
                      <a:srgbClr val="92D050"/>
                    </a:solidFill>
                  </a:rPr>
                  <a:t>生产作业管理</a:t>
                </a:r>
                <a:endParaRPr lang="zh-CN" altLang="en-US" b="1" smtClean="0">
                  <a:solidFill>
                    <a:srgbClr val="92D050"/>
                  </a:solidFill>
                </a:endParaRPr>
              </a:p>
            </p:txBody>
          </p:sp>
          <p:sp>
            <p:nvSpPr>
              <p:cNvPr id="19" name="Line 112"/>
              <p:cNvSpPr>
                <a:spLocks noChangeShapeType="1"/>
              </p:cNvSpPr>
              <p:nvPr>
                <p:custDataLst>
                  <p:tags r:id="rId8"/>
                </p:custDataLst>
              </p:nvPr>
            </p:nvSpPr>
            <p:spPr bwMode="auto">
              <a:xfrm flipH="1">
                <a:off x="5001963" y="4036087"/>
                <a:ext cx="1801" cy="948944"/>
              </a:xfrm>
              <a:prstGeom prst="line">
                <a:avLst/>
              </a:prstGeom>
              <a:noFill/>
              <a:ln w="19050">
                <a:solidFill>
                  <a:srgbClr val="92D050">
                    <a:lumMod val="60000"/>
                    <a:lumOff val="40000"/>
                  </a:srgbClr>
                </a:solidFill>
                <a:prstDash val="sysDot"/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" name="Oval 140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937538" y="3980064"/>
                <a:ext cx="126449" cy="126449"/>
              </a:xfrm>
              <a:prstGeom prst="ellipse">
                <a:avLst/>
              </a:prstGeom>
              <a:solidFill>
                <a:srgbClr val="FEFFFF"/>
              </a:solidFill>
              <a:ln w="38100">
                <a:solidFill>
                  <a:srgbClr val="92D050">
                    <a:lumMod val="60000"/>
                    <a:lumOff val="40000"/>
                  </a:srgbClr>
                </a:solidFill>
              </a:ln>
            </p:spPr>
            <p:txBody>
              <a:bodyPr wrap="none" anchor="ctr"/>
              <a:lstStyle>
                <a:lvl1pPr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1pPr>
                <a:lvl2pPr marL="742950" indent="-28575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2pPr>
                <a:lvl3pPr marL="1143000" indent="-22860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3pPr>
                <a:lvl4pPr marL="1600200" indent="-22860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4pPr>
                <a:lvl5pPr marL="2057400" indent="-22860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5pPr>
                <a:lvl6pPr marL="25146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6pPr>
                <a:lvl7pPr marL="29718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7pPr>
                <a:lvl8pPr marL="34290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8pPr>
                <a:lvl9pPr marL="38862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9pPr>
              </a:lstStyle>
              <a:p>
                <a:pPr algn="ctr"/>
                <a:endParaRPr lang="ko-KR" altLang="ko-KR">
                  <a:latin typeface="Calibri" panose="020F0502020204030204"/>
                  <a:ea typeface="Malgun Gothic" panose="020B0503020000020004" charset="-127"/>
                </a:endParaRPr>
              </a:p>
            </p:txBody>
          </p:sp>
        </p:grpSp>
        <p:grpSp>
          <p:nvGrpSpPr>
            <p:cNvPr id="20" name="组合 19"/>
            <p:cNvGrpSpPr/>
            <p:nvPr>
              <p:custDataLst>
                <p:tags r:id="rId10"/>
              </p:custDataLst>
            </p:nvPr>
          </p:nvGrpSpPr>
          <p:grpSpPr>
            <a:xfrm>
              <a:off x="7404" y="6001"/>
              <a:ext cx="1143" cy="4501"/>
              <a:chOff x="3737694" y="3806857"/>
              <a:chExt cx="725663" cy="2858045"/>
            </a:xfrm>
          </p:grpSpPr>
          <p:sp>
            <p:nvSpPr>
              <p:cNvPr id="21" name="Rectangle 111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3737694" y="4673173"/>
                <a:ext cx="725663" cy="199172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ysClr val="window" lastClr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5F5F5F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b="1" smtClean="0">
                    <a:solidFill>
                      <a:srgbClr val="92D050"/>
                    </a:solidFill>
                  </a:rPr>
                  <a:t>优化算法</a:t>
                </a:r>
                <a:endParaRPr lang="zh-CN" altLang="en-US" b="1" smtClean="0">
                  <a:solidFill>
                    <a:srgbClr val="92D050"/>
                  </a:solidFill>
                </a:endParaRPr>
              </a:p>
            </p:txBody>
          </p:sp>
          <p:sp>
            <p:nvSpPr>
              <p:cNvPr id="24" name="Line 110"/>
              <p:cNvSpPr>
                <a:spLocks noChangeShapeType="1"/>
              </p:cNvSpPr>
              <p:nvPr>
                <p:custDataLst>
                  <p:tags r:id="rId12"/>
                </p:custDataLst>
              </p:nvPr>
            </p:nvSpPr>
            <p:spPr bwMode="auto">
              <a:xfrm flipH="1">
                <a:off x="4107485" y="3877285"/>
                <a:ext cx="1801" cy="704055"/>
              </a:xfrm>
              <a:prstGeom prst="line">
                <a:avLst/>
              </a:prstGeom>
              <a:noFill/>
              <a:ln w="19050">
                <a:solidFill>
                  <a:srgbClr val="92D050">
                    <a:lumMod val="60000"/>
                    <a:lumOff val="40000"/>
                  </a:srgbClr>
                </a:solidFill>
                <a:prstDash val="sysDot"/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" name="Oval 140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042760" y="3806857"/>
                <a:ext cx="126449" cy="126449"/>
              </a:xfrm>
              <a:prstGeom prst="ellipse">
                <a:avLst/>
              </a:prstGeom>
              <a:solidFill>
                <a:srgbClr val="FEFFFF"/>
              </a:solidFill>
              <a:ln w="38100">
                <a:solidFill>
                  <a:srgbClr val="92D050">
                    <a:lumMod val="60000"/>
                    <a:lumOff val="40000"/>
                  </a:srgbClr>
                </a:solidFill>
              </a:ln>
            </p:spPr>
            <p:txBody>
              <a:bodyPr wrap="none" anchor="ctr"/>
              <a:lstStyle>
                <a:lvl1pPr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1pPr>
                <a:lvl2pPr marL="742950" indent="-28575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2pPr>
                <a:lvl3pPr marL="1143000" indent="-22860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3pPr>
                <a:lvl4pPr marL="1600200" indent="-22860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4pPr>
                <a:lvl5pPr marL="2057400" indent="-22860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5pPr>
                <a:lvl6pPr marL="25146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6pPr>
                <a:lvl7pPr marL="29718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7pPr>
                <a:lvl8pPr marL="34290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8pPr>
                <a:lvl9pPr marL="38862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9pPr>
              </a:lstStyle>
              <a:p>
                <a:pPr algn="ctr"/>
                <a:endParaRPr lang="ko-KR" altLang="ko-KR">
                  <a:latin typeface="Calibri" panose="020F0502020204030204"/>
                  <a:ea typeface="Malgun Gothic" panose="020B0503020000020004" charset="-127"/>
                </a:endParaRPr>
              </a:p>
            </p:txBody>
          </p:sp>
        </p:grpSp>
        <p:grpSp>
          <p:nvGrpSpPr>
            <p:cNvPr id="23" name="组合 22"/>
            <p:cNvGrpSpPr/>
            <p:nvPr>
              <p:custDataLst>
                <p:tags r:id="rId14"/>
              </p:custDataLst>
            </p:nvPr>
          </p:nvGrpSpPr>
          <p:grpSpPr>
            <a:xfrm>
              <a:off x="5965" y="5326"/>
              <a:ext cx="1143" cy="9860"/>
              <a:chOff x="2839736" y="3301681"/>
              <a:chExt cx="725662" cy="6261004"/>
            </a:xfrm>
          </p:grpSpPr>
          <p:sp>
            <p:nvSpPr>
              <p:cNvPr id="25" name="Rectangle 109"/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2839736" y="5269075"/>
                <a:ext cx="725662" cy="429361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ysClr val="window" lastClr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5F5F5F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/>
                <a:r>
                  <a:rPr lang="zh-CN" altLang="en-US" b="1" smtClean="0">
                    <a:solidFill>
                      <a:srgbClr val="92D050"/>
                    </a:solidFill>
                  </a:rPr>
                  <a:t>大数据库</a:t>
                </a:r>
                <a:r>
                  <a:rPr lang="en-US" altLang="zh-CN" b="1" smtClean="0">
                    <a:solidFill>
                      <a:srgbClr val="92D050"/>
                    </a:solidFill>
                  </a:rPr>
                  <a:t>&amp;</a:t>
                </a:r>
                <a:endParaRPr lang="en-US" altLang="zh-CN" b="1" smtClean="0">
                  <a:solidFill>
                    <a:srgbClr val="92D050"/>
                  </a:solidFill>
                </a:endParaRPr>
              </a:p>
              <a:p>
                <a:pPr algn="ctr"/>
                <a:r>
                  <a:rPr lang="zh-CN" altLang="en-US" b="1" smtClean="0">
                    <a:solidFill>
                      <a:srgbClr val="92D050"/>
                    </a:solidFill>
                  </a:rPr>
                  <a:t>匹配规则</a:t>
                </a:r>
                <a:endParaRPr lang="zh-CN" altLang="en-US" b="1" smtClean="0">
                  <a:solidFill>
                    <a:srgbClr val="92D050"/>
                  </a:solidFill>
                </a:endParaRPr>
              </a:p>
            </p:txBody>
          </p:sp>
          <p:sp>
            <p:nvSpPr>
              <p:cNvPr id="29" name="Line 108"/>
              <p:cNvSpPr>
                <a:spLocks noChangeShapeType="1"/>
              </p:cNvSpPr>
              <p:nvPr>
                <p:custDataLst>
                  <p:tags r:id="rId16"/>
                </p:custDataLst>
              </p:nvPr>
            </p:nvSpPr>
            <p:spPr bwMode="auto">
              <a:xfrm flipH="1">
                <a:off x="3207605" y="3372837"/>
                <a:ext cx="7203" cy="1879880"/>
              </a:xfrm>
              <a:prstGeom prst="line">
                <a:avLst/>
              </a:prstGeom>
              <a:noFill/>
              <a:ln w="19050">
                <a:solidFill>
                  <a:srgbClr val="92D050">
                    <a:lumMod val="60000"/>
                    <a:lumOff val="40000"/>
                  </a:srgbClr>
                </a:solidFill>
                <a:prstDash val="sysDot"/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" name="Oval 14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3147982" y="3301681"/>
                <a:ext cx="126449" cy="126449"/>
              </a:xfrm>
              <a:prstGeom prst="ellipse">
                <a:avLst/>
              </a:prstGeom>
              <a:solidFill>
                <a:srgbClr val="FEFFFF"/>
              </a:solidFill>
              <a:ln w="38100">
                <a:solidFill>
                  <a:srgbClr val="92D050">
                    <a:lumMod val="60000"/>
                    <a:lumOff val="40000"/>
                  </a:srgbClr>
                </a:solidFill>
              </a:ln>
            </p:spPr>
            <p:txBody>
              <a:bodyPr wrap="none" anchor="ctr"/>
              <a:lstStyle>
                <a:lvl1pPr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1pPr>
                <a:lvl2pPr marL="742950" indent="-28575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2pPr>
                <a:lvl3pPr marL="1143000" indent="-22860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3pPr>
                <a:lvl4pPr marL="1600200" indent="-22860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4pPr>
                <a:lvl5pPr marL="2057400" indent="-22860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5pPr>
                <a:lvl6pPr marL="25146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6pPr>
                <a:lvl7pPr marL="29718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7pPr>
                <a:lvl8pPr marL="34290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8pPr>
                <a:lvl9pPr marL="38862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9pPr>
              </a:lstStyle>
              <a:p>
                <a:pPr algn="ctr"/>
                <a:endParaRPr lang="ko-KR" altLang="ko-KR">
                  <a:latin typeface="Calibri" panose="020F0502020204030204"/>
                  <a:ea typeface="Malgun Gothic" panose="020B0503020000020004" charset="-127"/>
                </a:endParaRPr>
              </a:p>
            </p:txBody>
          </p:sp>
        </p:grpSp>
        <p:grpSp>
          <p:nvGrpSpPr>
            <p:cNvPr id="26" name="组合 25"/>
            <p:cNvGrpSpPr/>
            <p:nvPr>
              <p:custDataLst>
                <p:tags r:id="rId18"/>
              </p:custDataLst>
            </p:nvPr>
          </p:nvGrpSpPr>
          <p:grpSpPr>
            <a:xfrm>
              <a:off x="11721" y="6055"/>
              <a:ext cx="1143" cy="8200"/>
              <a:chOff x="5533611" y="3680354"/>
              <a:chExt cx="725662" cy="5207063"/>
            </a:xfrm>
          </p:grpSpPr>
          <p:sp>
            <p:nvSpPr>
              <p:cNvPr id="28" name="Rectangle 100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5533611" y="5514770"/>
                <a:ext cx="725662" cy="337264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ysClr val="window" lastClr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5F5F5F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/>
                <a:r>
                  <a:rPr lang="en-US" altLang="ko-KR" b="1" smtClean="0">
                    <a:solidFill>
                      <a:srgbClr val="92D050"/>
                    </a:solidFill>
                  </a:rPr>
                  <a:t>NLP</a:t>
                </a:r>
                <a:r>
                  <a:rPr lang="zh-CN" altLang="en-US" b="1" smtClean="0">
                    <a:solidFill>
                      <a:srgbClr val="92D050"/>
                    </a:solidFill>
                  </a:rPr>
                  <a:t>食谱创作</a:t>
                </a:r>
                <a:endParaRPr lang="zh-CN" altLang="en-US" b="1" smtClean="0">
                  <a:solidFill>
                    <a:srgbClr val="92D050"/>
                  </a:solidFill>
                </a:endParaRPr>
              </a:p>
            </p:txBody>
          </p:sp>
          <p:sp>
            <p:nvSpPr>
              <p:cNvPr id="30" name="Line 92"/>
              <p:cNvSpPr>
                <a:spLocks noChangeShapeType="1"/>
              </p:cNvSpPr>
              <p:nvPr>
                <p:custDataLst>
                  <p:tags r:id="rId20"/>
                </p:custDataLst>
              </p:nvPr>
            </p:nvSpPr>
            <p:spPr bwMode="auto">
              <a:xfrm flipH="1">
                <a:off x="5896441" y="3756183"/>
                <a:ext cx="0" cy="1637084"/>
              </a:xfrm>
              <a:prstGeom prst="line">
                <a:avLst/>
              </a:prstGeom>
              <a:noFill/>
              <a:ln w="19050">
                <a:solidFill>
                  <a:srgbClr val="92D050">
                    <a:lumMod val="60000"/>
                    <a:lumOff val="40000"/>
                  </a:srgbClr>
                </a:solidFill>
                <a:prstDash val="sysDot"/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" name="Oval 140"/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5832317" y="3680354"/>
                <a:ext cx="126449" cy="126449"/>
              </a:xfrm>
              <a:prstGeom prst="ellipse">
                <a:avLst/>
              </a:prstGeom>
              <a:solidFill>
                <a:srgbClr val="FEFFFF"/>
              </a:solidFill>
              <a:ln w="38100">
                <a:solidFill>
                  <a:srgbClr val="92D050">
                    <a:lumMod val="60000"/>
                    <a:lumOff val="40000"/>
                  </a:srgbClr>
                </a:solidFill>
              </a:ln>
            </p:spPr>
            <p:txBody>
              <a:bodyPr wrap="none" anchor="ctr"/>
              <a:lstStyle>
                <a:lvl1pPr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1pPr>
                <a:lvl2pPr marL="742950" indent="-28575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2pPr>
                <a:lvl3pPr marL="1143000" indent="-22860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3pPr>
                <a:lvl4pPr marL="1600200" indent="-22860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4pPr>
                <a:lvl5pPr marL="2057400" indent="-228600"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5pPr>
                <a:lvl6pPr marL="25146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6pPr>
                <a:lvl7pPr marL="29718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7pPr>
                <a:lvl8pPr marL="34290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8pPr>
                <a:lvl9pPr marL="3886200" indent="-228600" fontAlgn="base" latinLnBrk="1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5F5F5F"/>
                    </a:solidFill>
                    <a:latin typeface="Malgun Gothic" panose="020B0503020000020004" charset="-127"/>
                    <a:ea typeface="Malgun Gothic" panose="020B0503020000020004" charset="-127"/>
                  </a:defRPr>
                </a:lvl9pPr>
              </a:lstStyle>
              <a:p>
                <a:pPr algn="ctr"/>
                <a:endParaRPr lang="ko-KR" altLang="ko-KR">
                  <a:latin typeface="Calibri" panose="020F0502020204030204"/>
                  <a:ea typeface="Malgun Gothic" panose="020B0503020000020004" charset="-127"/>
                </a:endParaRPr>
              </a:p>
            </p:txBody>
          </p:sp>
        </p:grpSp>
      </p:grpSp>
      <p:pic>
        <p:nvPicPr>
          <p:cNvPr id="34" name="图片 33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-26035" y="4124960"/>
            <a:ext cx="1262380" cy="2590800"/>
          </a:xfrm>
          <a:prstGeom prst="rect">
            <a:avLst/>
          </a:prstGeom>
        </p:spPr>
      </p:pic>
      <p:sp>
        <p:nvSpPr>
          <p:cNvPr id="35" name="页脚占位符 34"/>
          <p:cNvSpPr>
            <a:spLocks noGrp="1"/>
          </p:cNvSpPr>
          <p:nvPr>
            <p:ph type="ftr" sz="quarter" idx="11"/>
          </p:nvPr>
        </p:nvSpPr>
        <p:spPr>
          <a:xfrm>
            <a:off x="5857875" y="6275070"/>
            <a:ext cx="652780" cy="206375"/>
          </a:xfrm>
        </p:spPr>
        <p:txBody>
          <a:bodyPr/>
          <a:p>
            <a:r>
              <a:rPr lang="en-US" altLang="zh-CN" baseline="30000" dirty="0">
                <a:sym typeface="+mn-ea"/>
              </a:rPr>
              <a:t>mealprep®</a:t>
            </a:r>
            <a:r>
              <a:rPr lang="en-US" altLang="zh-CN" dirty="0">
                <a:sym typeface="+mn-ea"/>
              </a:rPr>
              <a:t> </a:t>
            </a:r>
            <a:endParaRPr lang="zh-CN" altLang="en-US" dirty="0"/>
          </a:p>
        </p:txBody>
      </p:sp>
      <p:pic>
        <p:nvPicPr>
          <p:cNvPr id="5" name="PA-图片 4" descr="scooter-10-a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4"/>
          <a:srcRect t="1574" b="1574"/>
          <a:stretch>
            <a:fillRect/>
          </a:stretch>
        </p:blipFill>
        <p:spPr>
          <a:xfrm>
            <a:off x="4695598" y="1219894"/>
            <a:ext cx="6818006" cy="3835715"/>
          </a:xfrm>
          <a:prstGeom prst="rect">
            <a:avLst/>
          </a:prstGeom>
        </p:spPr>
      </p:pic>
      <p:pic>
        <p:nvPicPr>
          <p:cNvPr id="7" name="PA-图片 6" descr="scooter-11-1442"/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26"/>
          <a:srcRect t="5468" b="5468"/>
          <a:stretch>
            <a:fillRect/>
          </a:stretch>
        </p:blipFill>
        <p:spPr>
          <a:xfrm>
            <a:off x="4695598" y="1219894"/>
            <a:ext cx="6818006" cy="3835715"/>
          </a:xfrm>
          <a:prstGeom prst="rect">
            <a:avLst/>
          </a:prstGeom>
        </p:spPr>
      </p:pic>
      <p:pic>
        <p:nvPicPr>
          <p:cNvPr id="8" name="PA-图片 7" descr="scooter-01-1442"/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28"/>
          <a:srcRect l="2138" r="2138"/>
          <a:stretch>
            <a:fillRect/>
          </a:stretch>
        </p:blipFill>
        <p:spPr>
          <a:xfrm>
            <a:off x="4695598" y="1219894"/>
            <a:ext cx="6818006" cy="3835715"/>
          </a:xfrm>
          <a:prstGeom prst="rect">
            <a:avLst/>
          </a:prstGeom>
        </p:spPr>
      </p:pic>
      <p:sp>
        <p:nvSpPr>
          <p:cNvPr id="10" name="PA-半闭框 7"/>
          <p:cNvSpPr/>
          <p:nvPr>
            <p:custDataLst>
              <p:tags r:id="rId29"/>
            </p:custDataLst>
          </p:nvPr>
        </p:nvSpPr>
        <p:spPr>
          <a:xfrm flipH="1">
            <a:off x="11331347" y="1034256"/>
            <a:ext cx="352653" cy="352653"/>
          </a:xfrm>
          <a:prstGeom prst="halfFrame">
            <a:avLst>
              <a:gd name="adj1" fmla="val 12280"/>
              <a:gd name="adj2" fmla="val 12280"/>
            </a:avLst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id-ID" sz="1350">
              <a:solidFill>
                <a:schemeClr val="tx1"/>
              </a:solidFill>
            </a:endParaRPr>
          </a:p>
        </p:txBody>
      </p:sp>
      <p:sp>
        <p:nvSpPr>
          <p:cNvPr id="16" name="PA-半闭框 8"/>
          <p:cNvSpPr/>
          <p:nvPr>
            <p:custDataLst>
              <p:tags r:id="rId30"/>
            </p:custDataLst>
          </p:nvPr>
        </p:nvSpPr>
        <p:spPr>
          <a:xfrm flipV="1">
            <a:off x="4525739" y="4888162"/>
            <a:ext cx="352653" cy="352653"/>
          </a:xfrm>
          <a:prstGeom prst="halfFrame">
            <a:avLst>
              <a:gd name="adj1" fmla="val 12280"/>
              <a:gd name="adj2" fmla="val 12280"/>
            </a:avLst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id-ID" sz="1350">
              <a:solidFill>
                <a:schemeClr val="tx1"/>
              </a:solidFill>
            </a:endParaRPr>
          </a:p>
        </p:txBody>
      </p:sp>
      <p:pic>
        <p:nvPicPr>
          <p:cNvPr id="17" name="PA-图片 7" descr="scooter-01-1442"/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32"/>
          <a:srcRect l="4401" r="4401"/>
          <a:stretch>
            <a:fillRect/>
          </a:stretch>
        </p:blipFill>
        <p:spPr>
          <a:xfrm>
            <a:off x="4695598" y="1219894"/>
            <a:ext cx="6818006" cy="3835715"/>
          </a:xfrm>
          <a:prstGeom prst="rect">
            <a:avLst/>
          </a:prstGeom>
        </p:spPr>
      </p:pic>
      <p:pic>
        <p:nvPicPr>
          <p:cNvPr id="18" name="PA-图片 7" descr="C:\Users\Kristy\Desktop\5.png5"/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34"/>
          <a:srcRect l="1266" r="1266"/>
          <a:stretch>
            <a:fillRect/>
          </a:stretch>
        </p:blipFill>
        <p:spPr>
          <a:xfrm>
            <a:off x="4695598" y="1219894"/>
            <a:ext cx="6818006" cy="3835715"/>
          </a:xfrm>
          <a:prstGeom prst="rect">
            <a:avLst/>
          </a:prstGeom>
        </p:spPr>
      </p:pic>
      <p:pic>
        <p:nvPicPr>
          <p:cNvPr id="41" name="PA-图片 7" descr="C:\Users\Kristy\Desktop\6.jpg6"/>
          <p:cNvPicPr>
            <a:picLocks noChangeAspect="1"/>
          </p:cNvPicPr>
          <p:nvPr>
            <p:custDataLst>
              <p:tags r:id="rId35"/>
            </p:custDataLst>
          </p:nvPr>
        </p:nvPicPr>
        <p:blipFill>
          <a:blip r:embed="rId36"/>
          <a:srcRect l="30" r="30"/>
          <a:stretch>
            <a:fillRect/>
          </a:stretch>
        </p:blipFill>
        <p:spPr>
          <a:xfrm>
            <a:off x="4695598" y="1219894"/>
            <a:ext cx="6818006" cy="3835715"/>
          </a:xfrm>
          <a:prstGeom prst="rect">
            <a:avLst/>
          </a:prstGeom>
        </p:spPr>
      </p:pic>
    </p:spTree>
    <p:custDataLst>
      <p:tags r:id="rId37"/>
    </p:custDataLst>
  </p:cSld>
  <p:clrMapOvr>
    <a:masterClrMapping/>
  </p:clrMapOvr>
  <p:transition>
    <p:comb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Motion origin="layout" path="M 0 0 L 0.2107143 0 L -0.02291667 0 L 0.01875 0 L -0.01041667 0 L 0.01041667 0 L 0 0 E" pathEditMode="relative">
                                      <p:cBhvr>
                                        <p:cTn id="7" dur="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Motion origin="layout" path="M 0 0 L -0.3015365 0.3035648 L 0.01994171 -0.02007408 L -0.01631597 0.01642425 L 0.00906442 -0.009124586 L -0.00906442 0.009124586 L 0 0 E" pathEditMode="relative">
                                      <p:cBhvr>
                                        <p:cTn id="8" dur="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Motion origin="layout" path="M 0 0 L 0.2107143 0 L -0.02291667 0 L 0.01875 0 L -0.01041667 0 L 0.01041667 0 L 0 0 E" pathEditMode="relative">
                                      <p:cBhvr>
                                        <p:cTn id="11" dur="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Motion origin="layout" path="M 0 0 L 0.3015365 -0.3035648 L -0.01994171 0.02007407 L 0.01631594 -0.01642422 L -0.009064415 0.009124586 L 0.009064412 -0.009124586 L 0 0 E" pathEditMode="relative">
                                      <p:cBhvr>
                                        <p:cTn id="12" dur="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8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8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8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6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6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6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6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6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6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6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6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6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6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6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6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6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6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6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6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6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6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6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6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ldLvl="0" animBg="1"/>
      <p:bldP spid="16" grpId="0" bldLvl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1049020" y="5027930"/>
            <a:ext cx="6852920" cy="1506855"/>
            <a:chOff x="4395" y="6549"/>
            <a:chExt cx="10792" cy="2373"/>
          </a:xfrm>
        </p:grpSpPr>
        <p:grpSp>
          <p:nvGrpSpPr>
            <p:cNvPr id="14" name="组合 13"/>
            <p:cNvGrpSpPr/>
            <p:nvPr/>
          </p:nvGrpSpPr>
          <p:grpSpPr>
            <a:xfrm>
              <a:off x="9185" y="6549"/>
              <a:ext cx="1681" cy="1505"/>
              <a:chOff x="5465642" y="1881487"/>
              <a:chExt cx="1687482" cy="1510256"/>
            </a:xfrm>
          </p:grpSpPr>
          <p:sp>
            <p:nvSpPr>
              <p:cNvPr id="15" name="矩形 2"/>
              <p:cNvSpPr/>
              <p:nvPr/>
            </p:nvSpPr>
            <p:spPr>
              <a:xfrm rot="18000000">
                <a:off x="5971193" y="2209811"/>
                <a:ext cx="1216578" cy="1147285"/>
              </a:xfrm>
              <a:prstGeom prst="rect">
                <a:avLst/>
              </a:prstGeom>
              <a:gradFill>
                <a:gsLst>
                  <a:gs pos="23000">
                    <a:srgbClr val="A42E2E"/>
                  </a:gs>
                  <a:gs pos="100000">
                    <a:srgbClr val="CC4B4A">
                      <a:alpha val="0"/>
                      <a:lumMod val="0"/>
                      <a:lumOff val="100000"/>
                    </a:srgbClr>
                  </a:gs>
                  <a:gs pos="74000">
                    <a:srgbClr val="CC4B4A">
                      <a:alpha val="0"/>
                    </a:srgbClr>
                  </a:gs>
                </a:gsLst>
                <a:lin ang="66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cs"/>
                </a:endParaRPr>
              </a:p>
            </p:txBody>
          </p:sp>
          <p:grpSp>
            <p:nvGrpSpPr>
              <p:cNvPr id="18" name="组合 17"/>
              <p:cNvGrpSpPr/>
              <p:nvPr userDrawn="1"/>
            </p:nvGrpSpPr>
            <p:grpSpPr>
              <a:xfrm>
                <a:off x="5465642" y="1881487"/>
                <a:ext cx="1217540" cy="1217544"/>
                <a:chOff x="5465642" y="1894187"/>
                <a:chExt cx="1217540" cy="1217544"/>
              </a:xfrm>
              <a:effectLst/>
            </p:grpSpPr>
            <p:sp>
              <p:nvSpPr>
                <p:cNvPr id="19" name="椭圆 18"/>
                <p:cNvSpPr/>
                <p:nvPr/>
              </p:nvSpPr>
              <p:spPr>
                <a:xfrm>
                  <a:off x="5466012" y="1894559"/>
                  <a:ext cx="1216800" cy="1216800"/>
                </a:xfrm>
                <a:prstGeom prst="ellipse">
                  <a:avLst/>
                </a:prstGeom>
                <a:solidFill>
                  <a:srgbClr val="D74B4B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sp>
              <p:nvSpPr>
                <p:cNvPr id="20" name="Freeform 18"/>
                <p:cNvSpPr>
                  <a:spLocks noEditPoints="1"/>
                </p:cNvSpPr>
                <p:nvPr userDrawn="1"/>
              </p:nvSpPr>
              <p:spPr bwMode="auto">
                <a:xfrm>
                  <a:off x="5465642" y="1894187"/>
                  <a:ext cx="1217540" cy="1217544"/>
                </a:xfrm>
                <a:custGeom>
                  <a:avLst/>
                  <a:gdLst>
                    <a:gd name="T0" fmla="*/ 344 w 687"/>
                    <a:gd name="T1" fmla="*/ 0 h 685"/>
                    <a:gd name="T2" fmla="*/ 344 w 687"/>
                    <a:gd name="T3" fmla="*/ 0 h 685"/>
                    <a:gd name="T4" fmla="*/ 0 w 687"/>
                    <a:gd name="T5" fmla="*/ 344 h 685"/>
                    <a:gd name="T6" fmla="*/ 209 w 687"/>
                    <a:gd name="T7" fmla="*/ 659 h 685"/>
                    <a:gd name="T8" fmla="*/ 210 w 687"/>
                    <a:gd name="T9" fmla="*/ 648 h 685"/>
                    <a:gd name="T10" fmla="*/ 260 w 687"/>
                    <a:gd name="T11" fmla="*/ 402 h 685"/>
                    <a:gd name="T12" fmla="*/ 362 w 687"/>
                    <a:gd name="T13" fmla="*/ 334 h 685"/>
                    <a:gd name="T14" fmla="*/ 430 w 687"/>
                    <a:gd name="T15" fmla="*/ 436 h 685"/>
                    <a:gd name="T16" fmla="*/ 380 w 687"/>
                    <a:gd name="T17" fmla="*/ 682 h 685"/>
                    <a:gd name="T18" fmla="*/ 379 w 687"/>
                    <a:gd name="T19" fmla="*/ 685 h 685"/>
                    <a:gd name="T20" fmla="*/ 687 w 687"/>
                    <a:gd name="T21" fmla="*/ 344 h 685"/>
                    <a:gd name="T22" fmla="*/ 344 w 687"/>
                    <a:gd name="T23" fmla="*/ 0 h 685"/>
                    <a:gd name="T24" fmla="*/ 388 w 687"/>
                    <a:gd name="T25" fmla="*/ 293 h 685"/>
                    <a:gd name="T26" fmla="*/ 299 w 687"/>
                    <a:gd name="T27" fmla="*/ 204 h 685"/>
                    <a:gd name="T28" fmla="*/ 388 w 687"/>
                    <a:gd name="T29" fmla="*/ 115 h 685"/>
                    <a:gd name="T30" fmla="*/ 477 w 687"/>
                    <a:gd name="T31" fmla="*/ 204 h 685"/>
                    <a:gd name="T32" fmla="*/ 388 w 687"/>
                    <a:gd name="T33" fmla="*/ 293 h 6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87" h="685">
                      <a:moveTo>
                        <a:pt x="344" y="0"/>
                      </a:moveTo>
                      <a:cubicBezTo>
                        <a:pt x="344" y="0"/>
                        <a:pt x="344" y="0"/>
                        <a:pt x="344" y="0"/>
                      </a:cubicBezTo>
                      <a:cubicBezTo>
                        <a:pt x="155" y="0"/>
                        <a:pt x="0" y="155"/>
                        <a:pt x="0" y="344"/>
                      </a:cubicBezTo>
                      <a:cubicBezTo>
                        <a:pt x="0" y="485"/>
                        <a:pt x="86" y="607"/>
                        <a:pt x="209" y="659"/>
                      </a:cubicBezTo>
                      <a:cubicBezTo>
                        <a:pt x="209" y="656"/>
                        <a:pt x="209" y="652"/>
                        <a:pt x="210" y="648"/>
                      </a:cubicBezTo>
                      <a:cubicBezTo>
                        <a:pt x="260" y="402"/>
                        <a:pt x="260" y="402"/>
                        <a:pt x="260" y="402"/>
                      </a:cubicBezTo>
                      <a:cubicBezTo>
                        <a:pt x="269" y="355"/>
                        <a:pt x="315" y="325"/>
                        <a:pt x="362" y="334"/>
                      </a:cubicBezTo>
                      <a:cubicBezTo>
                        <a:pt x="409" y="344"/>
                        <a:pt x="439" y="390"/>
                        <a:pt x="430" y="436"/>
                      </a:cubicBezTo>
                      <a:cubicBezTo>
                        <a:pt x="380" y="682"/>
                        <a:pt x="380" y="682"/>
                        <a:pt x="380" y="682"/>
                      </a:cubicBezTo>
                      <a:cubicBezTo>
                        <a:pt x="379" y="684"/>
                        <a:pt x="379" y="684"/>
                        <a:pt x="379" y="685"/>
                      </a:cubicBezTo>
                      <a:cubicBezTo>
                        <a:pt x="551" y="668"/>
                        <a:pt x="687" y="521"/>
                        <a:pt x="687" y="344"/>
                      </a:cubicBezTo>
                      <a:cubicBezTo>
                        <a:pt x="687" y="155"/>
                        <a:pt x="533" y="0"/>
                        <a:pt x="344" y="0"/>
                      </a:cubicBezTo>
                      <a:close/>
                      <a:moveTo>
                        <a:pt x="388" y="293"/>
                      </a:moveTo>
                      <a:cubicBezTo>
                        <a:pt x="339" y="293"/>
                        <a:pt x="299" y="253"/>
                        <a:pt x="299" y="204"/>
                      </a:cubicBezTo>
                      <a:cubicBezTo>
                        <a:pt x="299" y="155"/>
                        <a:pt x="339" y="115"/>
                        <a:pt x="388" y="115"/>
                      </a:cubicBezTo>
                      <a:cubicBezTo>
                        <a:pt x="437" y="115"/>
                        <a:pt x="477" y="155"/>
                        <a:pt x="477" y="204"/>
                      </a:cubicBezTo>
                      <a:cubicBezTo>
                        <a:pt x="477" y="253"/>
                        <a:pt x="437" y="293"/>
                        <a:pt x="388" y="29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cs"/>
                  </a:endParaRPr>
                </a:p>
              </p:txBody>
            </p:sp>
          </p:grpSp>
        </p:grpSp>
        <p:sp>
          <p:nvSpPr>
            <p:cNvPr id="22" name="副标题 9"/>
            <p:cNvSpPr txBox="1"/>
            <p:nvPr/>
          </p:nvSpPr>
          <p:spPr>
            <a:xfrm>
              <a:off x="4395" y="7932"/>
              <a:ext cx="10792" cy="990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lang="en-US" altLang="zh-CN" sz="1400" baseline="30000" dirty="0">
                  <a:sym typeface="+mn-ea"/>
                </a:rPr>
                <a:t>mealprep®</a:t>
              </a:r>
              <a:r>
                <a:rPr lang="en-US" altLang="zh-CN" sz="1400" dirty="0">
                  <a:sym typeface="+mn-ea"/>
                </a:rPr>
                <a:t> </a:t>
              </a:r>
              <a:br>
                <a:rPr lang="en-US" altLang="zh-CN" sz="1400" dirty="0">
                  <a:sym typeface="+mn-ea"/>
                </a:rPr>
              </a:br>
              <a:r>
                <a:rPr lang="zh-CN" altLang="en-US" sz="900" dirty="0">
                  <a:sym typeface="+mn-ea"/>
                </a:rPr>
                <a:t>功能性饮食创新坊</a:t>
              </a:r>
              <a:endParaRPr lang="zh-CN" altLang="en-US" sz="900" dirty="0"/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 rot="20460000">
            <a:off x="229235" y="180975"/>
            <a:ext cx="1280160" cy="889635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slogan</a:t>
            </a:r>
            <a:endParaRPr lang="en-US" altLang="zh-CN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5509260" y="560070"/>
            <a:ext cx="2999105" cy="428625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p>
            <a:r>
              <a:rPr lang="zh-CN" altLang="en-US" spc="100" dirty="0">
                <a:solidFill>
                  <a:schemeClr val="bg1"/>
                </a:solidFill>
                <a:latin typeface="方正姚体" panose="02010601030101010101" charset="-122"/>
                <a:ea typeface="方正姚体" panose="02010601030101010101" charset="-122"/>
                <a:cs typeface="方正姚体" panose="02010601030101010101" charset="-122"/>
              </a:rPr>
              <a:t>治未病</a:t>
            </a:r>
            <a:r>
              <a:rPr lang="en-US" altLang="zh-CN" spc="100" dirty="0">
                <a:solidFill>
                  <a:schemeClr val="bg1"/>
                </a:solidFill>
                <a:latin typeface="方正姚体" panose="02010601030101010101" charset="-122"/>
                <a:ea typeface="方正姚体" panose="02010601030101010101" charset="-122"/>
                <a:cs typeface="方正姚体" panose="02010601030101010101" charset="-122"/>
              </a:rPr>
              <a:t>·</a:t>
            </a:r>
            <a:r>
              <a:rPr lang="zh-CN" altLang="en-US" spc="100" dirty="0">
                <a:solidFill>
                  <a:schemeClr val="bg1"/>
                </a:solidFill>
                <a:latin typeface="方正姚体" panose="02010601030101010101" charset="-122"/>
                <a:ea typeface="方正姚体" panose="02010601030101010101" charset="-122"/>
                <a:cs typeface="方正姚体" panose="02010601030101010101" charset="-122"/>
              </a:rPr>
              <a:t>神奇的东方力量</a:t>
            </a:r>
            <a:endParaRPr lang="zh-CN" altLang="en-US" spc="100" dirty="0">
              <a:solidFill>
                <a:schemeClr val="bg1"/>
              </a:solidFill>
              <a:latin typeface="方正姚体" panose="02010601030101010101" charset="-122"/>
              <a:ea typeface="方正姚体" panose="02010601030101010101" charset="-122"/>
              <a:cs typeface="方正姚体" panose="02010601030101010101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4613275" y="3740150"/>
            <a:ext cx="3740785" cy="570230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p>
            <a:r>
              <a:rPr lang="zh-CN" altLang="en-US" spc="100" dirty="0">
                <a:solidFill>
                  <a:schemeClr val="bg1"/>
                </a:solidFill>
                <a:latin typeface="仿宋" panose="02010609060101010101" charset="-122"/>
                <a:ea typeface="仿宋" panose="02010609060101010101" charset="-122"/>
                <a:cs typeface="Arial" panose="020B0604020202020204" pitchFamily="34" charset="0"/>
              </a:rPr>
              <a:t>无须消耗意志力的健康饮食</a:t>
            </a:r>
            <a:endParaRPr lang="zh-CN" altLang="en-US" spc="100" dirty="0">
              <a:solidFill>
                <a:schemeClr val="bg1"/>
              </a:solidFill>
              <a:latin typeface="仿宋" panose="02010609060101010101" charset="-122"/>
              <a:ea typeface="仿宋" panose="02010609060101010101" charset="-122"/>
              <a:cs typeface="Arial" panose="020B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81735" y="2802255"/>
            <a:ext cx="7526020" cy="889635"/>
          </a:xfrm>
          <a:prstGeom prst="rect">
            <a:avLst/>
          </a:prstGeom>
          <a:noFill/>
          <a:ln w="53975" cmpd="thickThin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p>
            <a:r>
              <a:rPr lang="zh-CN" altLang="en-US" spc="100" dirty="0">
                <a:solidFill>
                  <a:srgbClr val="FFC000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请努力活到 长生不老技术 实现的那一天！</a:t>
            </a:r>
            <a:endParaRPr lang="zh-CN" altLang="en-US" spc="100" dirty="0">
              <a:solidFill>
                <a:srgbClr val="FFC000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789430" y="1617980"/>
            <a:ext cx="6370320" cy="666115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p>
            <a:r>
              <a:rPr lang="zh-CN" altLang="en-US" sz="2000" spc="100" dirty="0">
                <a:solidFill>
                  <a:srgbClr val="FEA700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和我一起瓜分</a:t>
            </a:r>
            <a:r>
              <a:rPr lang="en-US" altLang="zh-CN" sz="2000" spc="100" dirty="0">
                <a:solidFill>
                  <a:srgbClr val="FEA700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14</a:t>
            </a:r>
            <a:r>
              <a:rPr lang="zh-CN" altLang="en-US" sz="2000" spc="100" dirty="0">
                <a:solidFill>
                  <a:srgbClr val="FEA700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亿饮食快消市场</a:t>
            </a:r>
            <a:endParaRPr lang="zh-CN" altLang="en-US" sz="2000" spc="100" dirty="0">
              <a:solidFill>
                <a:srgbClr val="FEA700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420370" y="1526540"/>
            <a:ext cx="1369060" cy="92202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ctr"/>
            <a:r>
              <a:rPr lang="en-US" altLang="zh-CN" b="1">
                <a:solidFill>
                  <a:schemeClr val="bg1"/>
                </a:solidFill>
                <a:latin typeface="华文琥珀" panose="02010800040101010101" charset="-122"/>
                <a:ea typeface="华文琥珀" panose="02010800040101010101" charset="-122"/>
                <a:cs typeface="华文琥珀" panose="02010800040101010101" charset="-122"/>
              </a:rPr>
              <a:t>AI </a:t>
            </a:r>
            <a:r>
              <a:rPr lang="zh-CN" altLang="en-US" b="1">
                <a:solidFill>
                  <a:schemeClr val="bg1"/>
                </a:solidFill>
                <a:latin typeface="华文琥珀" panose="02010800040101010101" charset="-122"/>
                <a:ea typeface="华文琥珀" panose="02010800040101010101" charset="-122"/>
                <a:cs typeface="华文琥珀" panose="02010800040101010101" charset="-122"/>
              </a:rPr>
              <a:t>美食家</a:t>
            </a:r>
            <a:endParaRPr lang="zh-CN" altLang="en-US" b="1">
              <a:solidFill>
                <a:schemeClr val="bg1"/>
              </a:solidFill>
              <a:latin typeface="华文琥珀" panose="02010800040101010101" charset="-122"/>
              <a:ea typeface="华文琥珀" panose="02010800040101010101" charset="-122"/>
              <a:cs typeface="华文琥珀" panose="02010800040101010101" charset="-122"/>
            </a:endParaRPr>
          </a:p>
          <a:p>
            <a:pPr algn="ctr"/>
            <a:r>
              <a:rPr lang="en-US" altLang="zh-CN" b="1">
                <a:solidFill>
                  <a:schemeClr val="bg1"/>
                </a:solidFill>
                <a:latin typeface="华文琥珀" panose="02010800040101010101" charset="-122"/>
                <a:ea typeface="华文琥珀" panose="02010800040101010101" charset="-122"/>
                <a:cs typeface="华文琥珀" panose="02010800040101010101" charset="-122"/>
              </a:rPr>
              <a:t>AI </a:t>
            </a:r>
            <a:r>
              <a:rPr lang="zh-CN" altLang="en-US" b="1">
                <a:solidFill>
                  <a:schemeClr val="bg1"/>
                </a:solidFill>
                <a:latin typeface="华文琥珀" panose="02010800040101010101" charset="-122"/>
                <a:ea typeface="华文琥珀" panose="02010800040101010101" charset="-122"/>
                <a:cs typeface="华文琥珀" panose="02010800040101010101" charset="-122"/>
              </a:rPr>
              <a:t>营养师</a:t>
            </a:r>
            <a:endParaRPr lang="zh-CN" altLang="en-US" b="1">
              <a:solidFill>
                <a:schemeClr val="bg1"/>
              </a:solidFill>
              <a:latin typeface="华文琥珀" panose="02010800040101010101" charset="-122"/>
              <a:ea typeface="华文琥珀" panose="02010800040101010101" charset="-122"/>
              <a:cs typeface="华文琥珀" panose="02010800040101010101" charset="-122"/>
            </a:endParaRPr>
          </a:p>
          <a:p>
            <a:pPr algn="ctr"/>
            <a:r>
              <a:rPr lang="en-US" altLang="zh-CN" b="1">
                <a:solidFill>
                  <a:schemeClr val="bg1"/>
                </a:solidFill>
                <a:latin typeface="华文琥珀" panose="02010800040101010101" charset="-122"/>
                <a:ea typeface="华文琥珀" panose="02010800040101010101" charset="-122"/>
                <a:cs typeface="华文琥珀" panose="02010800040101010101" charset="-122"/>
              </a:rPr>
              <a:t>AI </a:t>
            </a:r>
            <a:r>
              <a:rPr lang="zh-CN" altLang="en-US" b="1">
                <a:solidFill>
                  <a:schemeClr val="bg1"/>
                </a:solidFill>
                <a:latin typeface="华文琥珀" panose="02010800040101010101" charset="-122"/>
                <a:ea typeface="华文琥珀" panose="02010800040101010101" charset="-122"/>
                <a:cs typeface="华文琥珀" panose="02010800040101010101" charset="-122"/>
              </a:rPr>
              <a:t>厨房教练</a:t>
            </a:r>
            <a:endParaRPr lang="zh-CN" altLang="en-US" b="1">
              <a:solidFill>
                <a:schemeClr val="bg1"/>
              </a:solidFill>
              <a:latin typeface="华文琥珀" panose="02010800040101010101" charset="-122"/>
              <a:ea typeface="华文琥珀" panose="02010800040101010101" charset="-122"/>
              <a:cs typeface="华文琥珀" panose="02010800040101010101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892810" y="3700780"/>
            <a:ext cx="3414395" cy="649605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p>
            <a:r>
              <a:rPr b="1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微软雅黑" panose="020B0503020204020204" pitchFamily="34" charset="-122"/>
                <a:sym typeface="+mn-ea"/>
              </a:rPr>
              <a:t>生活家食研基地 </a:t>
            </a:r>
            <a:r>
              <a:rPr lang="en-US" altLang="zh-CN" b="1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微软雅黑" panose="020B0503020204020204" pitchFamily="34" charset="-122"/>
                <a:sym typeface="+mn-ea"/>
              </a:rPr>
              <a:t>· </a:t>
            </a:r>
            <a:r>
              <a:rPr b="1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微软雅黑" panose="020B0503020204020204" pitchFamily="34" charset="-122"/>
                <a:sym typeface="+mn-ea"/>
              </a:rPr>
              <a:t>传递食物温情</a:t>
            </a:r>
            <a:endParaRPr lang="zh-CN" altLang="en-US" spc="100" dirty="0">
              <a:solidFill>
                <a:schemeClr val="bg1"/>
              </a:solidFill>
              <a:latin typeface="仿宋" panose="02010609060101010101" charset="-122"/>
              <a:ea typeface="仿宋" panose="02010609060101010101" charset="-122"/>
              <a:cs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2184400" y="1067435"/>
            <a:ext cx="1986915" cy="550545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p>
            <a:r>
              <a:rPr lang="zh-CN" altLang="en-US" spc="100" dirty="0">
                <a:solidFill>
                  <a:schemeClr val="bg1"/>
                </a:solidFill>
                <a:latin typeface="方正姚体" panose="02010601030101010101" charset="-122"/>
                <a:ea typeface="方正姚体" panose="02010601030101010101" charset="-122"/>
                <a:cs typeface="Arial" panose="020B0604020202020204" pitchFamily="34" charset="0"/>
              </a:rPr>
              <a:t>中国风网红爆款</a:t>
            </a:r>
            <a:endParaRPr lang="zh-CN" altLang="en-US" spc="100" dirty="0">
              <a:solidFill>
                <a:schemeClr val="bg1"/>
              </a:solidFill>
              <a:latin typeface="方正姚体" panose="02010601030101010101" charset="-122"/>
              <a:ea typeface="方正姚体" panose="02010601030101010101" charset="-122"/>
              <a:cs typeface="Arial" panose="020B0604020202020204" pitchFamily="34" charset="0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955040" y="4406900"/>
            <a:ext cx="1882775" cy="838200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p>
            <a:r>
              <a:rPr lang="zh-CN" altLang="en-US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拯救都市人</a:t>
            </a:r>
            <a:r>
              <a:rPr lang="zh-CN" altLang="en-US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健康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5281295" y="4293870"/>
            <a:ext cx="287845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b="1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  <a:sym typeface="+mn-ea"/>
              </a:rPr>
              <a:t>西方营养学</a:t>
            </a:r>
            <a:r>
              <a:rPr lang="en-US" altLang="zh-CN" b="1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  <a:sym typeface="+mn-ea"/>
              </a:rPr>
              <a:t>+</a:t>
            </a:r>
            <a:r>
              <a:rPr b="1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  <a:sym typeface="+mn-ea"/>
              </a:rPr>
              <a:t>东方中医药理</a:t>
            </a:r>
            <a:endParaRPr lang="zh-CN" altLang="en-US">
              <a:latin typeface="楷体" panose="02010609060101010101" charset="-122"/>
              <a:ea typeface="楷体" panose="02010609060101010101" charset="-122"/>
              <a:cs typeface="楷体" panose="02010609060101010101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7701280" y="2258695"/>
            <a:ext cx="1332230" cy="543560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p>
            <a:r>
              <a:rPr>
                <a:ln>
                  <a:noFill/>
                </a:ln>
                <a:solidFill>
                  <a:schemeClr val="bg1"/>
                </a:solidFill>
                <a:latin typeface="华文楷体" panose="02010600040101010101" charset="-122"/>
                <a:ea typeface="华文楷体" panose="02010600040101010101" charset="-122"/>
                <a:sym typeface="+mn-ea"/>
              </a:rPr>
              <a:t>饮食仪式感</a:t>
            </a:r>
            <a:endParaRPr lang="zh-CN" altLang="en-US" spc="100" dirty="0">
              <a:solidFill>
                <a:schemeClr val="bg1"/>
              </a:solidFill>
              <a:latin typeface="华文楷体" panose="02010600040101010101" charset="-122"/>
              <a:ea typeface="华文楷体" panose="02010600040101010101" charset="-122"/>
              <a:cs typeface="Arial" panose="020B0604020202020204" pitchFamily="34" charset="0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1925003" y="5232400"/>
            <a:ext cx="2245995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ctr"/>
            <a:r>
              <a:rPr b="1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dobe 仿宋 Std R" panose="02020400000000000000" charset="-122"/>
                <a:ea typeface="Adobe 仿宋 Std R" panose="02020400000000000000" charset="-122"/>
                <a:cs typeface="Adobe 仿宋 Std R" panose="02020400000000000000" charset="-122"/>
                <a:sym typeface="+mn-ea"/>
              </a:rPr>
              <a:t>人生两大不可逆资产</a:t>
            </a:r>
            <a:endParaRPr b="1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dobe 仿宋 Std R" panose="02020400000000000000" charset="-122"/>
              <a:ea typeface="Adobe 仿宋 Std R" panose="02020400000000000000" charset="-122"/>
              <a:cs typeface="Adobe 仿宋 Std R" panose="02020400000000000000" charset="-122"/>
              <a:sym typeface="+mn-ea"/>
            </a:endParaRPr>
          </a:p>
          <a:p>
            <a:pPr algn="ctr"/>
            <a:r>
              <a:rPr b="1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dobe 仿宋 Std R" panose="02020400000000000000" charset="-122"/>
                <a:ea typeface="Adobe 仿宋 Std R" panose="02020400000000000000" charset="-122"/>
                <a:cs typeface="Adobe 仿宋 Std R" panose="02020400000000000000" charset="-122"/>
                <a:sym typeface="+mn-ea"/>
              </a:rPr>
              <a:t>时间</a:t>
            </a:r>
            <a:r>
              <a:rPr lang="en-US" altLang="zh-CN" b="1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dobe 仿宋 Std R" panose="02020400000000000000" charset="-122"/>
                <a:ea typeface="Adobe 仿宋 Std R" panose="02020400000000000000" charset="-122"/>
                <a:cs typeface="Adobe 仿宋 Std R" panose="02020400000000000000" charset="-122"/>
                <a:sym typeface="+mn-ea"/>
              </a:rPr>
              <a:t>&amp;</a:t>
            </a:r>
            <a:r>
              <a:rPr b="1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dobe 仿宋 Std R" panose="02020400000000000000" charset="-122"/>
                <a:ea typeface="Adobe 仿宋 Std R" panose="02020400000000000000" charset="-122"/>
                <a:cs typeface="Adobe 仿宋 Std R" panose="02020400000000000000" charset="-122"/>
                <a:sym typeface="+mn-ea"/>
              </a:rPr>
              <a:t>健康</a:t>
            </a:r>
            <a:endParaRPr lang="zh-CN" altLang="en-US">
              <a:latin typeface="Adobe 仿宋 Std R" panose="02020400000000000000" charset="-122"/>
              <a:ea typeface="Adobe 仿宋 Std R" panose="02020400000000000000" charset="-122"/>
              <a:cs typeface="Adobe 仿宋 Std R" panose="02020400000000000000" charset="-122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1619250" y="600075"/>
            <a:ext cx="1960880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sz="2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楷体" panose="02010609060101010101" charset="-122"/>
                <a:ea typeface="楷体" panose="02010609060101010101" charset="-122"/>
                <a:cs typeface="Arial" panose="020B0604020202020204" pitchFamily="34" charset="0"/>
                <a:sym typeface="+mn-ea"/>
              </a:rPr>
              <a:t>精细化饮食管理</a:t>
            </a:r>
            <a:endParaRPr lang="zh-CN" altLang="en-US" sz="2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楷体" panose="02010609060101010101" charset="-122"/>
              <a:ea typeface="楷体" panose="02010609060101010101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6407150" y="4640580"/>
            <a:ext cx="1411605" cy="550545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p>
            <a:r>
              <a:rPr lang="zh-CN" altLang="en-US" spc="100" dirty="0">
                <a:solidFill>
                  <a:schemeClr val="bg1"/>
                </a:solidFill>
                <a:latin typeface="方正姚体" panose="02010601030101010101" charset="-122"/>
                <a:ea typeface="方正姚体" panose="02010601030101010101" charset="-122"/>
                <a:cs typeface="Arial" panose="020B0604020202020204" pitchFamily="34" charset="0"/>
              </a:rPr>
              <a:t>美人靠</a:t>
            </a:r>
            <a:r>
              <a:rPr lang="zh-CN" altLang="en-US" spc="100" dirty="0">
                <a:solidFill>
                  <a:schemeClr val="bg1"/>
                </a:solidFill>
                <a:latin typeface="方正姚体" panose="02010601030101010101" charset="-122"/>
                <a:ea typeface="方正姚体" panose="02010601030101010101" charset="-122"/>
                <a:cs typeface="Arial" panose="020B0604020202020204" pitchFamily="34" charset="0"/>
              </a:rPr>
              <a:t>内养</a:t>
            </a:r>
            <a:endParaRPr lang="zh-CN" altLang="en-US" spc="100" dirty="0">
              <a:solidFill>
                <a:schemeClr val="bg1"/>
              </a:solidFill>
              <a:latin typeface="方正姚体" panose="02010601030101010101" charset="-122"/>
              <a:ea typeface="方正姚体" panose="02010601030101010101" charset="-122"/>
              <a:cs typeface="Arial" panose="020B0604020202020204" pitchFamily="34" charset="0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5591810" y="1097915"/>
            <a:ext cx="3348355" cy="428625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p>
            <a:r>
              <a:rPr lang="zh-CN" altLang="en-US" spc="100" dirty="0">
                <a:solidFill>
                  <a:schemeClr val="bg1"/>
                </a:solidFill>
                <a:latin typeface="华文仿宋" panose="02010600040101010101" charset="-122"/>
                <a:ea typeface="华文仿宋" panose="02010600040101010101" charset="-122"/>
                <a:cs typeface="Arial" panose="020B0604020202020204" pitchFamily="34" charset="0"/>
              </a:rPr>
              <a:t>昨天的食物塑造了今天的你</a:t>
            </a:r>
            <a:endParaRPr lang="zh-CN" altLang="en-US" spc="100" dirty="0">
              <a:solidFill>
                <a:schemeClr val="bg1"/>
              </a:solidFill>
              <a:latin typeface="华文仿宋" panose="02010600040101010101" charset="-122"/>
              <a:ea typeface="华文仿宋" panose="02010600040101010101" charset="-122"/>
              <a:cs typeface="Arial" panose="020B0604020202020204" pitchFamily="34" charset="0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119380" y="2924810"/>
            <a:ext cx="10972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b="1">
                <a:ln>
                  <a:noFill/>
                </a:ln>
                <a:solidFill>
                  <a:schemeClr val="bg1"/>
                </a:solidFill>
                <a:latin typeface="+mn-ea"/>
                <a:sym typeface="+mn-ea"/>
              </a:rPr>
              <a:t>七分靠吃</a:t>
            </a:r>
            <a:endParaRPr b="1">
              <a:ln>
                <a:noFill/>
              </a:ln>
              <a:solidFill>
                <a:schemeClr val="bg1"/>
              </a:solidFill>
              <a:latin typeface="+mn-ea"/>
              <a:sym typeface="+mn-ea"/>
            </a:endParaRPr>
          </a:p>
          <a:p>
            <a:pPr algn="l"/>
            <a:r>
              <a:rPr b="1">
                <a:ln>
                  <a:noFill/>
                </a:ln>
                <a:solidFill>
                  <a:schemeClr val="bg1"/>
                </a:solidFill>
                <a:latin typeface="+mn-ea"/>
                <a:sym typeface="+mn-ea"/>
              </a:rPr>
              <a:t>三分靠练</a:t>
            </a:r>
            <a:endParaRPr lang="zh-CN" altLang="en-US" b="1">
              <a:ln>
                <a:noFill/>
              </a:ln>
              <a:solidFill>
                <a:schemeClr val="bg1"/>
              </a:solidFill>
              <a:latin typeface="+mn-ea"/>
              <a:sym typeface="+mn-ea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-63500" y="2404745"/>
            <a:ext cx="26212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方正姚体" panose="02010601030101010101" charset="-122"/>
                <a:ea typeface="方正姚体" panose="02010601030101010101" charset="-122"/>
              </a:rPr>
              <a:t>防癌从每一餐做起</a:t>
            </a:r>
            <a:endParaRPr lang="zh-CN" altLang="en-US" sz="2400">
              <a:solidFill>
                <a:schemeClr val="bg1"/>
              </a:solidFill>
              <a:latin typeface="方正姚体" panose="02010601030101010101" charset="-122"/>
              <a:ea typeface="方正姚体" panose="02010601030101010101" charset="-122"/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2937510" y="4506595"/>
            <a:ext cx="2463800" cy="428625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p>
            <a:r>
              <a:rPr lang="zh-CN" altLang="en-US">
                <a:solidFill>
                  <a:schemeClr val="bg1"/>
                </a:solidFill>
                <a:sym typeface="+mn-ea"/>
              </a:rPr>
              <a:t>饮食行业全产业链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38" name="文本框 37"/>
          <p:cNvSpPr txBox="1"/>
          <p:nvPr/>
        </p:nvSpPr>
        <p:spPr>
          <a:xfrm>
            <a:off x="5117465" y="5294630"/>
            <a:ext cx="1888490" cy="428625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p>
            <a:r>
              <a:rPr lang="zh-CN" altLang="en-US" spc="100" dirty="0">
                <a:solidFill>
                  <a:schemeClr val="bg1"/>
                </a:solidFill>
                <a:latin typeface="华文仿宋" panose="02010600040101010101" charset="-122"/>
                <a:ea typeface="华文仿宋" panose="02010600040101010101" charset="-122"/>
                <a:cs typeface="Arial" panose="020B0604020202020204" pitchFamily="34" charset="0"/>
              </a:rPr>
              <a:t>药膳食疗养生</a:t>
            </a:r>
            <a:endParaRPr lang="zh-CN" altLang="en-US" spc="100" dirty="0">
              <a:solidFill>
                <a:schemeClr val="bg1"/>
              </a:solidFill>
              <a:latin typeface="华文仿宋" panose="02010600040101010101" charset="-122"/>
              <a:ea typeface="华文仿宋" panose="02010600040101010101" charset="-122"/>
              <a:cs typeface="Arial" panose="020B0604020202020204" pitchFamily="34" charset="0"/>
            </a:endParaRPr>
          </a:p>
        </p:txBody>
      </p:sp>
      <p:sp>
        <p:nvSpPr>
          <p:cNvPr id="39" name="文本框 38"/>
          <p:cNvSpPr txBox="1"/>
          <p:nvPr/>
        </p:nvSpPr>
        <p:spPr>
          <a:xfrm>
            <a:off x="8216900" y="1617980"/>
            <a:ext cx="1198880" cy="70675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sz="2000" b="1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anose="020B0604020202020204" pitchFamily="34" charset="0"/>
                <a:sym typeface="+mn-ea"/>
              </a:rPr>
              <a:t>家庭菜篮</a:t>
            </a:r>
            <a:endParaRPr sz="2000" b="1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anose="020B0604020202020204" pitchFamily="34" charset="0"/>
              <a:sym typeface="+mn-ea"/>
            </a:endParaRPr>
          </a:p>
          <a:p>
            <a:pPr algn="l"/>
            <a:r>
              <a:rPr sz="2000" b="1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anose="020B0604020202020204" pitchFamily="34" charset="0"/>
                <a:sym typeface="+mn-ea"/>
              </a:rPr>
              <a:t>一键下单</a:t>
            </a:r>
            <a:endParaRPr lang="zh-CN" altLang="en-US" sz="2000" b="1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anose="020B0604020202020204" pitchFamily="34" charset="0"/>
              <a:sym typeface="+mn-ea"/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4244975" y="988695"/>
            <a:ext cx="1459230" cy="70675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ctr"/>
            <a:r>
              <a:rPr lang="zh-CN" altLang="en-US" sz="2000" b="1">
                <a:solidFill>
                  <a:schemeClr val="bg1"/>
                </a:solidFill>
                <a:latin typeface="楷体" panose="02010609060101010101" charset="-122"/>
                <a:ea typeface="楷体" panose="02010609060101010101" charset="-122"/>
              </a:rPr>
              <a:t>功能性饮食</a:t>
            </a:r>
            <a:endParaRPr lang="zh-CN" altLang="en-US" sz="2000" b="1">
              <a:solidFill>
                <a:schemeClr val="bg1"/>
              </a:solidFill>
              <a:latin typeface="楷体" panose="02010609060101010101" charset="-122"/>
              <a:ea typeface="楷体" panose="02010609060101010101" charset="-122"/>
            </a:endParaRPr>
          </a:p>
          <a:p>
            <a:pPr algn="ctr"/>
            <a:r>
              <a:rPr lang="zh-CN" altLang="en-US" sz="2000" b="1">
                <a:solidFill>
                  <a:schemeClr val="bg1"/>
                </a:solidFill>
                <a:latin typeface="楷体" panose="02010609060101010101" charset="-122"/>
                <a:ea typeface="楷体" panose="02010609060101010101" charset="-122"/>
              </a:rPr>
              <a:t>新概念</a:t>
            </a:r>
            <a:endParaRPr lang="zh-CN" altLang="en-US" sz="2000" b="1">
              <a:solidFill>
                <a:schemeClr val="bg1"/>
              </a:solidFill>
              <a:latin typeface="楷体" panose="02010609060101010101" charset="-122"/>
              <a:ea typeface="楷体" panose="02010609060101010101" charset="-122"/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2493645" y="2258695"/>
            <a:ext cx="4865370" cy="465455"/>
          </a:xfrm>
          <a:prstGeom prst="rect">
            <a:avLst/>
          </a:prstGeom>
          <a:noFill/>
          <a:ln w="53975" cmpd="thickThin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p>
            <a:r>
              <a:rPr lang="zh-CN" altLang="en-US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未来学家：人类最早于</a:t>
            </a:r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2050</a:t>
            </a:r>
            <a:r>
              <a:rPr lang="zh-CN" altLang="en-US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年</a:t>
            </a:r>
            <a:r>
              <a:rPr lang="zh-CN" altLang="en-US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实现长生不老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42" name="文本框 41"/>
          <p:cNvSpPr txBox="1"/>
          <p:nvPr/>
        </p:nvSpPr>
        <p:spPr>
          <a:xfrm>
            <a:off x="541020" y="1158240"/>
            <a:ext cx="16306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pc="100" dirty="0">
                <a:solidFill>
                  <a:schemeClr val="bg1"/>
                </a:solidFill>
                <a:latin typeface="+mj-ea"/>
                <a:ea typeface="+mj-ea"/>
                <a:cs typeface="Arial" panose="020B0604020202020204" pitchFamily="34" charset="0"/>
                <a:sym typeface="+mn-ea"/>
              </a:rPr>
              <a:t>减少饮食开销</a:t>
            </a:r>
            <a:endParaRPr lang="zh-CN" altLang="en-US">
              <a:latin typeface="+mj-ea"/>
              <a:ea typeface="+mj-ea"/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5327015" y="4587240"/>
            <a:ext cx="11480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ctr"/>
            <a:r>
              <a:rPr lang="zh-CN" altLang="en-US" spc="100" dirty="0">
                <a:solidFill>
                  <a:schemeClr val="bg1"/>
                </a:solidFill>
                <a:latin typeface="幼圆" panose="02010509060101010101" charset="-122"/>
                <a:ea typeface="幼圆" panose="02010509060101010101" charset="-122"/>
                <a:cs typeface="Arial" panose="020B0604020202020204" pitchFamily="34" charset="0"/>
                <a:sym typeface="+mn-ea"/>
              </a:rPr>
              <a:t>降低</a:t>
            </a:r>
            <a:endParaRPr lang="zh-CN" altLang="en-US" spc="100" dirty="0">
              <a:solidFill>
                <a:schemeClr val="bg1"/>
              </a:solidFill>
              <a:latin typeface="幼圆" panose="02010509060101010101" charset="-122"/>
              <a:ea typeface="幼圆" panose="02010509060101010101" charset="-122"/>
              <a:cs typeface="Arial" panose="020B0604020202020204" pitchFamily="34" charset="0"/>
              <a:sym typeface="+mn-ea"/>
            </a:endParaRPr>
          </a:p>
          <a:p>
            <a:pPr algn="ctr"/>
            <a:r>
              <a:rPr lang="zh-CN" altLang="en-US" spc="100" dirty="0">
                <a:solidFill>
                  <a:schemeClr val="bg1"/>
                </a:solidFill>
                <a:latin typeface="幼圆" panose="02010509060101010101" charset="-122"/>
                <a:ea typeface="幼圆" panose="02010509060101010101" charset="-122"/>
                <a:cs typeface="Arial" panose="020B0604020202020204" pitchFamily="34" charset="0"/>
                <a:sym typeface="+mn-ea"/>
              </a:rPr>
              <a:t>学厨成本</a:t>
            </a:r>
            <a:endParaRPr lang="zh-CN" altLang="en-US"/>
          </a:p>
        </p:txBody>
      </p:sp>
      <p:sp>
        <p:nvSpPr>
          <p:cNvPr id="44" name="矩形 43"/>
          <p:cNvSpPr/>
          <p:nvPr/>
        </p:nvSpPr>
        <p:spPr>
          <a:xfrm>
            <a:off x="9505315" y="-59690"/>
            <a:ext cx="3889375" cy="7071995"/>
          </a:xfrm>
          <a:prstGeom prst="rect">
            <a:avLst/>
          </a:prstGeom>
          <a:solidFill>
            <a:srgbClr val="FAF7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45" name="文本框 44"/>
          <p:cNvSpPr txBox="1"/>
          <p:nvPr/>
        </p:nvSpPr>
        <p:spPr>
          <a:xfrm>
            <a:off x="9479280" y="560070"/>
            <a:ext cx="2778760" cy="341503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>
                <a:latin typeface="+mn-ea"/>
                <a:cs typeface="+mn-ea"/>
              </a:rPr>
              <a:t>如果你是</a:t>
            </a:r>
            <a:endParaRPr lang="zh-CN" altLang="en-US">
              <a:latin typeface="+mn-ea"/>
              <a:cs typeface="+mn-ea"/>
            </a:endParaRPr>
          </a:p>
          <a:p>
            <a:pPr marL="342900" indent="-342900" algn="l">
              <a:buFont typeface="Wingdings" panose="05000000000000000000" charset="0"/>
              <a:buChar char="ü"/>
            </a:pPr>
            <a:endParaRPr lang="zh-CN" altLang="en-US">
              <a:latin typeface="+mn-ea"/>
              <a:cs typeface="+mn-ea"/>
            </a:endParaRPr>
          </a:p>
          <a:p>
            <a:pPr marL="342900" indent="-342900" algn="l">
              <a:buFont typeface="Wingdings" panose="05000000000000000000" charset="0"/>
              <a:buChar char="ü"/>
            </a:pPr>
            <a:r>
              <a:rPr lang="zh-CN" altLang="en-US">
                <a:latin typeface="+mn-ea"/>
                <a:cs typeface="+mn-ea"/>
              </a:rPr>
              <a:t>大数据从业者</a:t>
            </a:r>
            <a:endParaRPr lang="zh-CN" altLang="en-US">
              <a:latin typeface="+mn-ea"/>
              <a:cs typeface="+mn-ea"/>
            </a:endParaRPr>
          </a:p>
          <a:p>
            <a:pPr marL="342900" indent="-342900" algn="l">
              <a:buFont typeface="Wingdings" panose="05000000000000000000" charset="0"/>
              <a:buChar char="ü"/>
            </a:pPr>
            <a:r>
              <a:rPr lang="zh-CN" altLang="en-US">
                <a:latin typeface="+mn-ea"/>
                <a:cs typeface="+mn-ea"/>
              </a:rPr>
              <a:t>人工智能算法专家</a:t>
            </a:r>
            <a:endParaRPr lang="zh-CN" altLang="en-US">
              <a:latin typeface="+mn-ea"/>
              <a:cs typeface="+mn-ea"/>
            </a:endParaRPr>
          </a:p>
          <a:p>
            <a:pPr marL="342900" indent="-342900" algn="l">
              <a:buFont typeface="Wingdings" panose="05000000000000000000" charset="0"/>
              <a:buChar char="ü"/>
            </a:pPr>
            <a:r>
              <a:rPr lang="zh-CN" altLang="en-US">
                <a:latin typeface="+mn-ea"/>
                <a:cs typeface="+mn-ea"/>
              </a:rPr>
              <a:t>自媒体</a:t>
            </a:r>
            <a:r>
              <a:rPr lang="en-US" altLang="zh-CN">
                <a:latin typeface="+mn-ea"/>
                <a:cs typeface="+mn-ea"/>
              </a:rPr>
              <a:t>/</a:t>
            </a:r>
            <a:r>
              <a:rPr lang="zh-CN" altLang="en-US">
                <a:latin typeface="+mn-ea"/>
                <a:cs typeface="+mn-ea"/>
              </a:rPr>
              <a:t>新媒体运营者</a:t>
            </a:r>
            <a:endParaRPr lang="zh-CN" altLang="en-US">
              <a:latin typeface="+mn-ea"/>
              <a:cs typeface="+mn-ea"/>
            </a:endParaRPr>
          </a:p>
          <a:p>
            <a:pPr marL="342900" indent="-342900" algn="l">
              <a:buFont typeface="Wingdings" panose="05000000000000000000" charset="0"/>
              <a:buChar char="ü"/>
            </a:pPr>
            <a:r>
              <a:rPr lang="zh-CN" altLang="en-US">
                <a:latin typeface="+mn-ea"/>
                <a:cs typeface="+mn-ea"/>
              </a:rPr>
              <a:t>优质内容生产者</a:t>
            </a:r>
            <a:endParaRPr lang="zh-CN" altLang="en-US">
              <a:latin typeface="+mn-ea"/>
              <a:cs typeface="+mn-ea"/>
            </a:endParaRPr>
          </a:p>
          <a:p>
            <a:pPr marL="342900" indent="-342900" algn="l">
              <a:buFont typeface="Wingdings" panose="05000000000000000000" charset="0"/>
              <a:buChar char="ü"/>
            </a:pPr>
            <a:r>
              <a:rPr lang="zh-CN" altLang="en-US">
                <a:latin typeface="+mn-ea"/>
                <a:cs typeface="+mn-ea"/>
              </a:rPr>
              <a:t>设计师</a:t>
            </a:r>
            <a:endParaRPr lang="zh-CN" altLang="en-US">
              <a:latin typeface="+mn-ea"/>
              <a:cs typeface="+mn-ea"/>
            </a:endParaRPr>
          </a:p>
          <a:p>
            <a:pPr marL="342900" indent="-342900" algn="l">
              <a:buFont typeface="Wingdings" panose="05000000000000000000" charset="0"/>
              <a:buChar char="ü"/>
            </a:pPr>
            <a:r>
              <a:rPr lang="zh-CN" altLang="en-US">
                <a:latin typeface="+mn-ea"/>
                <a:cs typeface="+mn-ea"/>
                <a:sym typeface="+mn-ea"/>
              </a:rPr>
              <a:t>熟悉商业模式</a:t>
            </a:r>
            <a:endParaRPr lang="zh-CN" altLang="en-US">
              <a:latin typeface="+mn-ea"/>
              <a:cs typeface="+mn-ea"/>
              <a:sym typeface="+mn-ea"/>
            </a:endParaRPr>
          </a:p>
          <a:p>
            <a:pPr marL="342900" indent="-342900" algn="l">
              <a:buFont typeface="Wingdings" panose="05000000000000000000" charset="0"/>
              <a:buChar char="ü"/>
            </a:pPr>
            <a:r>
              <a:rPr lang="zh-CN" altLang="en-US">
                <a:latin typeface="+mn-ea"/>
                <a:cs typeface="+mn-ea"/>
              </a:rPr>
              <a:t>热爱营养学</a:t>
            </a:r>
            <a:r>
              <a:rPr lang="en-US" altLang="zh-CN">
                <a:latin typeface="+mn-ea"/>
                <a:cs typeface="+mn-ea"/>
              </a:rPr>
              <a:t>/</a:t>
            </a:r>
            <a:r>
              <a:rPr lang="zh-CN" altLang="en-US">
                <a:latin typeface="+mn-ea"/>
                <a:cs typeface="+mn-ea"/>
              </a:rPr>
              <a:t>中医</a:t>
            </a:r>
            <a:r>
              <a:rPr lang="en-US" altLang="zh-CN">
                <a:latin typeface="+mn-ea"/>
                <a:cs typeface="+mn-ea"/>
              </a:rPr>
              <a:t>/</a:t>
            </a:r>
            <a:r>
              <a:rPr lang="zh-CN" altLang="en-US">
                <a:latin typeface="+mn-ea"/>
                <a:cs typeface="+mn-ea"/>
              </a:rPr>
              <a:t>厨艺</a:t>
            </a:r>
            <a:endParaRPr lang="zh-CN" altLang="en-US">
              <a:latin typeface="+mn-ea"/>
              <a:cs typeface="+mn-ea"/>
            </a:endParaRPr>
          </a:p>
          <a:p>
            <a:pPr marL="342900" indent="-342900" algn="l">
              <a:buFont typeface="Wingdings" panose="05000000000000000000" charset="0"/>
              <a:buChar char="ü"/>
            </a:pPr>
            <a:r>
              <a:rPr lang="zh-CN" altLang="en-US">
                <a:latin typeface="+mn-ea"/>
                <a:cs typeface="+mn-ea"/>
              </a:rPr>
              <a:t>长生不老狂热信徒</a:t>
            </a:r>
            <a:endParaRPr lang="zh-CN" altLang="en-US">
              <a:latin typeface="+mn-ea"/>
              <a:cs typeface="+mn-ea"/>
            </a:endParaRPr>
          </a:p>
          <a:p>
            <a:pPr marL="342900" indent="-342900" algn="l">
              <a:buFont typeface="Wingdings" panose="05000000000000000000" charset="0"/>
              <a:buChar char="ü"/>
            </a:pPr>
            <a:r>
              <a:rPr lang="zh-CN" altLang="en-US">
                <a:latin typeface="+mn-ea"/>
                <a:cs typeface="+mn-ea"/>
              </a:rPr>
              <a:t>不屈不挠的创客</a:t>
            </a:r>
            <a:endParaRPr lang="zh-CN" altLang="en-US">
              <a:latin typeface="+mn-ea"/>
              <a:cs typeface="+mn-ea"/>
            </a:endParaRPr>
          </a:p>
          <a:p>
            <a:endParaRPr lang="zh-CN" altLang="en-US">
              <a:latin typeface="+mn-ea"/>
              <a:cs typeface="+mn-ea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10093325" y="4087495"/>
            <a:ext cx="1453515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 algn="ctr">
              <a:buFont typeface="Wingdings" panose="05000000000000000000" charset="0"/>
              <a:buNone/>
            </a:pPr>
            <a:r>
              <a:rPr lang="zh-CN" altLang="en-US" i="1">
                <a:latin typeface="+mn-ea"/>
                <a:cs typeface="+mn-ea"/>
                <a:sym typeface="+mn-ea"/>
              </a:rPr>
              <a:t>加 入 组 织</a:t>
            </a:r>
            <a:endParaRPr lang="zh-CN" altLang="en-US" i="1">
              <a:latin typeface="+mn-ea"/>
              <a:cs typeface="+mn-ea"/>
            </a:endParaRPr>
          </a:p>
          <a:p>
            <a:pPr indent="0" algn="ctr">
              <a:buFont typeface="Wingdings" panose="05000000000000000000" charset="0"/>
              <a:buNone/>
            </a:pPr>
            <a:r>
              <a:rPr lang="zh-CN" altLang="en-US" i="1">
                <a:latin typeface="+mn-ea"/>
                <a:cs typeface="+mn-ea"/>
                <a:sym typeface="+mn-ea"/>
              </a:rPr>
              <a:t>吃 好 睡 好</a:t>
            </a:r>
            <a:endParaRPr lang="zh-CN" altLang="en-US" i="1">
              <a:latin typeface="+mn-ea"/>
              <a:cs typeface="+mn-ea"/>
            </a:endParaRPr>
          </a:p>
          <a:p>
            <a:pPr indent="0" algn="ctr">
              <a:buFont typeface="Wingdings" panose="05000000000000000000" charset="0"/>
              <a:buNone/>
            </a:pPr>
            <a:r>
              <a:rPr lang="zh-CN" altLang="en-US" i="1">
                <a:latin typeface="+mn-ea"/>
                <a:cs typeface="+mn-ea"/>
                <a:sym typeface="+mn-ea"/>
              </a:rPr>
              <a:t>一 起 炼 金</a:t>
            </a:r>
            <a:endParaRPr lang="zh-CN" altLang="en-US" i="1">
              <a:latin typeface="+mn-ea"/>
              <a:cs typeface="+mn-ea"/>
            </a:endParaRPr>
          </a:p>
          <a:p>
            <a:pPr indent="0" algn="ctr">
              <a:buFont typeface="Wingdings" panose="05000000000000000000" charset="0"/>
              <a:buNone/>
            </a:pPr>
            <a:r>
              <a:rPr lang="zh-CN" altLang="en-US" i="1" dirty="0">
                <a:latin typeface="+mn-ea"/>
                <a:cs typeface="+mn-ea"/>
                <a:sym typeface="+mn-ea"/>
              </a:rPr>
              <a:t>一 起 修 仙</a:t>
            </a:r>
            <a:endParaRPr lang="zh-CN" altLang="en-US" i="1">
              <a:latin typeface="+mn-ea"/>
              <a:cs typeface="+mn-ea"/>
            </a:endParaRPr>
          </a:p>
          <a:p>
            <a:endParaRPr lang="zh-CN" altLang="en-US" i="1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46" grpId="0"/>
      <p:bldP spid="45" grpId="1"/>
      <p:bldP spid="46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人工智能饮食变革：人工智能</a:t>
            </a:r>
            <a:r>
              <a:rPr lang="zh-CN" dirty="0"/>
              <a:t>将会如何重塑</a:t>
            </a:r>
            <a:r>
              <a:rPr dirty="0"/>
              <a:t>我们的饮食生活？</a:t>
            </a:r>
            <a:endParaRPr dirty="0"/>
          </a:p>
        </p:txBody>
      </p:sp>
      <p:sp>
        <p:nvSpPr>
          <p:cNvPr id="40" name="îSḻiḓé"/>
          <p:cNvSpPr/>
          <p:nvPr/>
        </p:nvSpPr>
        <p:spPr>
          <a:xfrm>
            <a:off x="1003935" y="2312670"/>
            <a:ext cx="1318260" cy="13182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</a:p>
        </p:txBody>
      </p:sp>
      <p:sp>
        <p:nvSpPr>
          <p:cNvPr id="41" name="íṡľíďe"/>
          <p:cNvSpPr/>
          <p:nvPr/>
        </p:nvSpPr>
        <p:spPr>
          <a:xfrm>
            <a:off x="906780" y="2216150"/>
            <a:ext cx="1511300" cy="1511300"/>
          </a:xfrm>
          <a:prstGeom prst="ellipse">
            <a:avLst/>
          </a:prstGeom>
          <a:noFill/>
          <a:ln w="12700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</a:p>
        </p:txBody>
      </p:sp>
      <p:sp>
        <p:nvSpPr>
          <p:cNvPr id="42" name="iş1îde"/>
          <p:cNvSpPr/>
          <p:nvPr/>
        </p:nvSpPr>
        <p:spPr bwMode="auto">
          <a:xfrm>
            <a:off x="1466215" y="2774950"/>
            <a:ext cx="393700" cy="393700"/>
          </a:xfrm>
          <a:custGeom>
            <a:avLst/>
            <a:gdLst/>
            <a:ahLst/>
            <a:cxnLst>
              <a:cxn ang="0">
                <a:pos x="224" y="12"/>
              </a:cxn>
              <a:cxn ang="0">
                <a:pos x="188" y="0"/>
              </a:cxn>
              <a:cxn ang="0">
                <a:pos x="168" y="4"/>
              </a:cxn>
              <a:cxn ang="0">
                <a:pos x="112" y="54"/>
              </a:cxn>
              <a:cxn ang="0">
                <a:pos x="110" y="54"/>
              </a:cxn>
              <a:cxn ang="0">
                <a:pos x="28" y="138"/>
              </a:cxn>
              <a:cxn ang="0">
                <a:pos x="20" y="152"/>
              </a:cxn>
              <a:cxn ang="0">
                <a:pos x="0" y="228"/>
              </a:cxn>
              <a:cxn ang="0">
                <a:pos x="8" y="248"/>
              </a:cxn>
              <a:cxn ang="0">
                <a:pos x="28" y="256"/>
              </a:cxn>
              <a:cxn ang="0">
                <a:pos x="106" y="236"/>
              </a:cxn>
              <a:cxn ang="0">
                <a:pos x="240" y="106"/>
              </a:cxn>
              <a:cxn ang="0">
                <a:pos x="252" y="86"/>
              </a:cxn>
              <a:cxn ang="0">
                <a:pos x="254" y="52"/>
              </a:cxn>
              <a:cxn ang="0">
                <a:pos x="236" y="20"/>
              </a:cxn>
              <a:cxn ang="0">
                <a:pos x="126" y="180"/>
              </a:cxn>
              <a:cxn ang="0">
                <a:pos x="198" y="94"/>
              </a:cxn>
              <a:cxn ang="0">
                <a:pos x="196" y="126"/>
              </a:cxn>
              <a:cxn ang="0">
                <a:pos x="190" y="134"/>
              </a:cxn>
              <a:cxn ang="0">
                <a:pos x="128" y="196"/>
              </a:cxn>
              <a:cxn ang="0">
                <a:pos x="118" y="162"/>
              </a:cxn>
              <a:cxn ang="0">
                <a:pos x="100" y="142"/>
              </a:cxn>
              <a:cxn ang="0">
                <a:pos x="168" y="60"/>
              </a:cxn>
              <a:cxn ang="0">
                <a:pos x="184" y="72"/>
              </a:cxn>
              <a:cxn ang="0">
                <a:pos x="118" y="162"/>
              </a:cxn>
              <a:cxn ang="0">
                <a:pos x="72" y="130"/>
              </a:cxn>
              <a:cxn ang="0">
                <a:pos x="122" y="66"/>
              </a:cxn>
              <a:cxn ang="0">
                <a:pos x="150" y="56"/>
              </a:cxn>
              <a:cxn ang="0">
                <a:pos x="34" y="238"/>
              </a:cxn>
              <a:cxn ang="0">
                <a:pos x="28" y="240"/>
              </a:cxn>
              <a:cxn ang="0">
                <a:pos x="16" y="232"/>
              </a:cxn>
              <a:cxn ang="0">
                <a:pos x="16" y="224"/>
              </a:cxn>
              <a:cxn ang="0">
                <a:pos x="32" y="194"/>
              </a:cxn>
              <a:cxn ang="0">
                <a:pos x="52" y="204"/>
              </a:cxn>
              <a:cxn ang="0">
                <a:pos x="60" y="218"/>
              </a:cxn>
              <a:cxn ang="0">
                <a:pos x="34" y="238"/>
              </a:cxn>
              <a:cxn ang="0">
                <a:pos x="70" y="222"/>
              </a:cxn>
              <a:cxn ang="0">
                <a:pos x="58" y="198"/>
              </a:cxn>
              <a:cxn ang="0">
                <a:pos x="44" y="188"/>
              </a:cxn>
              <a:cxn ang="0">
                <a:pos x="36" y="156"/>
              </a:cxn>
              <a:cxn ang="0">
                <a:pos x="38" y="150"/>
              </a:cxn>
              <a:cxn ang="0">
                <a:pos x="60" y="144"/>
              </a:cxn>
              <a:cxn ang="0">
                <a:pos x="82" y="150"/>
              </a:cxn>
              <a:cxn ang="0">
                <a:pos x="96" y="160"/>
              </a:cxn>
              <a:cxn ang="0">
                <a:pos x="110" y="182"/>
              </a:cxn>
              <a:cxn ang="0">
                <a:pos x="110" y="206"/>
              </a:cxn>
              <a:cxn ang="0">
                <a:pos x="104" y="220"/>
              </a:cxn>
              <a:cxn ang="0">
                <a:pos x="230" y="94"/>
              </a:cxn>
              <a:cxn ang="0">
                <a:pos x="216" y="102"/>
              </a:cxn>
              <a:cxn ang="0">
                <a:pos x="210" y="80"/>
              </a:cxn>
              <a:cxn ang="0">
                <a:pos x="196" y="60"/>
              </a:cxn>
              <a:cxn ang="0">
                <a:pos x="162" y="42"/>
              </a:cxn>
              <a:cxn ang="0">
                <a:pos x="162" y="26"/>
              </a:cxn>
              <a:cxn ang="0">
                <a:pos x="180" y="16"/>
              </a:cxn>
              <a:cxn ang="0">
                <a:pos x="198" y="18"/>
              </a:cxn>
              <a:cxn ang="0">
                <a:pos x="224" y="32"/>
              </a:cxn>
              <a:cxn ang="0">
                <a:pos x="236" y="48"/>
              </a:cxn>
              <a:cxn ang="0">
                <a:pos x="240" y="66"/>
              </a:cxn>
              <a:cxn ang="0">
                <a:pos x="234" y="88"/>
              </a:cxn>
            </a:cxnLst>
            <a:rect l="0" t="0" r="r" b="b"/>
            <a:pathLst>
              <a:path w="256" h="256">
                <a:moveTo>
                  <a:pt x="236" y="20"/>
                </a:moveTo>
                <a:lnTo>
                  <a:pt x="236" y="20"/>
                </a:lnTo>
                <a:lnTo>
                  <a:pt x="224" y="12"/>
                </a:lnTo>
                <a:lnTo>
                  <a:pt x="212" y="6"/>
                </a:lnTo>
                <a:lnTo>
                  <a:pt x="200" y="2"/>
                </a:lnTo>
                <a:lnTo>
                  <a:pt x="188" y="0"/>
                </a:lnTo>
                <a:lnTo>
                  <a:pt x="188" y="0"/>
                </a:lnTo>
                <a:lnTo>
                  <a:pt x="178" y="0"/>
                </a:lnTo>
                <a:lnTo>
                  <a:pt x="168" y="4"/>
                </a:lnTo>
                <a:lnTo>
                  <a:pt x="158" y="8"/>
                </a:lnTo>
                <a:lnTo>
                  <a:pt x="150" y="16"/>
                </a:lnTo>
                <a:lnTo>
                  <a:pt x="112" y="54"/>
                </a:lnTo>
                <a:lnTo>
                  <a:pt x="112" y="54"/>
                </a:lnTo>
                <a:lnTo>
                  <a:pt x="110" y="54"/>
                </a:lnTo>
                <a:lnTo>
                  <a:pt x="110" y="54"/>
                </a:lnTo>
                <a:lnTo>
                  <a:pt x="110" y="54"/>
                </a:lnTo>
                <a:lnTo>
                  <a:pt x="110" y="54"/>
                </a:lnTo>
                <a:lnTo>
                  <a:pt x="28" y="138"/>
                </a:lnTo>
                <a:lnTo>
                  <a:pt x="28" y="138"/>
                </a:lnTo>
                <a:lnTo>
                  <a:pt x="24" y="144"/>
                </a:lnTo>
                <a:lnTo>
                  <a:pt x="20" y="152"/>
                </a:lnTo>
                <a:lnTo>
                  <a:pt x="2" y="220"/>
                </a:lnTo>
                <a:lnTo>
                  <a:pt x="2" y="220"/>
                </a:lnTo>
                <a:lnTo>
                  <a:pt x="0" y="228"/>
                </a:lnTo>
                <a:lnTo>
                  <a:pt x="0" y="228"/>
                </a:lnTo>
                <a:lnTo>
                  <a:pt x="2" y="238"/>
                </a:lnTo>
                <a:lnTo>
                  <a:pt x="8" y="248"/>
                </a:lnTo>
                <a:lnTo>
                  <a:pt x="18" y="254"/>
                </a:lnTo>
                <a:lnTo>
                  <a:pt x="28" y="256"/>
                </a:lnTo>
                <a:lnTo>
                  <a:pt x="28" y="256"/>
                </a:lnTo>
                <a:lnTo>
                  <a:pt x="38" y="254"/>
                </a:lnTo>
                <a:lnTo>
                  <a:pt x="106" y="236"/>
                </a:lnTo>
                <a:lnTo>
                  <a:pt x="106" y="236"/>
                </a:lnTo>
                <a:lnTo>
                  <a:pt x="112" y="234"/>
                </a:lnTo>
                <a:lnTo>
                  <a:pt x="118" y="228"/>
                </a:lnTo>
                <a:lnTo>
                  <a:pt x="240" y="106"/>
                </a:lnTo>
                <a:lnTo>
                  <a:pt x="240" y="106"/>
                </a:lnTo>
                <a:lnTo>
                  <a:pt x="248" y="96"/>
                </a:lnTo>
                <a:lnTo>
                  <a:pt x="252" y="86"/>
                </a:lnTo>
                <a:lnTo>
                  <a:pt x="256" y="76"/>
                </a:lnTo>
                <a:lnTo>
                  <a:pt x="256" y="64"/>
                </a:lnTo>
                <a:lnTo>
                  <a:pt x="254" y="52"/>
                </a:lnTo>
                <a:lnTo>
                  <a:pt x="250" y="42"/>
                </a:lnTo>
                <a:lnTo>
                  <a:pt x="244" y="30"/>
                </a:lnTo>
                <a:lnTo>
                  <a:pt x="236" y="20"/>
                </a:lnTo>
                <a:close/>
                <a:moveTo>
                  <a:pt x="128" y="190"/>
                </a:moveTo>
                <a:lnTo>
                  <a:pt x="128" y="190"/>
                </a:lnTo>
                <a:lnTo>
                  <a:pt x="126" y="180"/>
                </a:lnTo>
                <a:lnTo>
                  <a:pt x="122" y="170"/>
                </a:lnTo>
                <a:lnTo>
                  <a:pt x="198" y="94"/>
                </a:lnTo>
                <a:lnTo>
                  <a:pt x="198" y="94"/>
                </a:lnTo>
                <a:lnTo>
                  <a:pt x="200" y="104"/>
                </a:lnTo>
                <a:lnTo>
                  <a:pt x="200" y="116"/>
                </a:lnTo>
                <a:lnTo>
                  <a:pt x="196" y="126"/>
                </a:lnTo>
                <a:lnTo>
                  <a:pt x="190" y="134"/>
                </a:lnTo>
                <a:lnTo>
                  <a:pt x="190" y="134"/>
                </a:lnTo>
                <a:lnTo>
                  <a:pt x="190" y="134"/>
                </a:lnTo>
                <a:lnTo>
                  <a:pt x="190" y="134"/>
                </a:lnTo>
                <a:lnTo>
                  <a:pt x="128" y="196"/>
                </a:lnTo>
                <a:lnTo>
                  <a:pt x="128" y="196"/>
                </a:lnTo>
                <a:lnTo>
                  <a:pt x="128" y="190"/>
                </a:lnTo>
                <a:close/>
                <a:moveTo>
                  <a:pt x="118" y="162"/>
                </a:moveTo>
                <a:lnTo>
                  <a:pt x="118" y="162"/>
                </a:lnTo>
                <a:lnTo>
                  <a:pt x="108" y="148"/>
                </a:lnTo>
                <a:lnTo>
                  <a:pt x="108" y="148"/>
                </a:lnTo>
                <a:lnTo>
                  <a:pt x="100" y="142"/>
                </a:lnTo>
                <a:lnTo>
                  <a:pt x="92" y="136"/>
                </a:lnTo>
                <a:lnTo>
                  <a:pt x="168" y="60"/>
                </a:lnTo>
                <a:lnTo>
                  <a:pt x="168" y="60"/>
                </a:lnTo>
                <a:lnTo>
                  <a:pt x="176" y="64"/>
                </a:lnTo>
                <a:lnTo>
                  <a:pt x="184" y="72"/>
                </a:lnTo>
                <a:lnTo>
                  <a:pt x="184" y="72"/>
                </a:lnTo>
                <a:lnTo>
                  <a:pt x="190" y="78"/>
                </a:lnTo>
                <a:lnTo>
                  <a:pt x="194" y="86"/>
                </a:lnTo>
                <a:lnTo>
                  <a:pt x="118" y="162"/>
                </a:lnTo>
                <a:close/>
                <a:moveTo>
                  <a:pt x="84" y="132"/>
                </a:moveTo>
                <a:lnTo>
                  <a:pt x="84" y="132"/>
                </a:lnTo>
                <a:lnTo>
                  <a:pt x="72" y="130"/>
                </a:lnTo>
                <a:lnTo>
                  <a:pt x="60" y="128"/>
                </a:lnTo>
                <a:lnTo>
                  <a:pt x="122" y="66"/>
                </a:lnTo>
                <a:lnTo>
                  <a:pt x="122" y="66"/>
                </a:lnTo>
                <a:lnTo>
                  <a:pt x="130" y="60"/>
                </a:lnTo>
                <a:lnTo>
                  <a:pt x="140" y="56"/>
                </a:lnTo>
                <a:lnTo>
                  <a:pt x="150" y="56"/>
                </a:lnTo>
                <a:lnTo>
                  <a:pt x="160" y="58"/>
                </a:lnTo>
                <a:lnTo>
                  <a:pt x="84" y="132"/>
                </a:lnTo>
                <a:close/>
                <a:moveTo>
                  <a:pt x="34" y="238"/>
                </a:moveTo>
                <a:lnTo>
                  <a:pt x="34" y="238"/>
                </a:lnTo>
                <a:lnTo>
                  <a:pt x="28" y="240"/>
                </a:lnTo>
                <a:lnTo>
                  <a:pt x="28" y="240"/>
                </a:lnTo>
                <a:lnTo>
                  <a:pt x="24" y="240"/>
                </a:lnTo>
                <a:lnTo>
                  <a:pt x="20" y="236"/>
                </a:lnTo>
                <a:lnTo>
                  <a:pt x="16" y="232"/>
                </a:lnTo>
                <a:lnTo>
                  <a:pt x="16" y="228"/>
                </a:lnTo>
                <a:lnTo>
                  <a:pt x="16" y="228"/>
                </a:lnTo>
                <a:lnTo>
                  <a:pt x="16" y="224"/>
                </a:lnTo>
                <a:lnTo>
                  <a:pt x="26" y="192"/>
                </a:lnTo>
                <a:lnTo>
                  <a:pt x="26" y="192"/>
                </a:lnTo>
                <a:lnTo>
                  <a:pt x="32" y="194"/>
                </a:lnTo>
                <a:lnTo>
                  <a:pt x="40" y="196"/>
                </a:lnTo>
                <a:lnTo>
                  <a:pt x="46" y="200"/>
                </a:lnTo>
                <a:lnTo>
                  <a:pt x="52" y="204"/>
                </a:lnTo>
                <a:lnTo>
                  <a:pt x="52" y="204"/>
                </a:lnTo>
                <a:lnTo>
                  <a:pt x="58" y="210"/>
                </a:lnTo>
                <a:lnTo>
                  <a:pt x="60" y="218"/>
                </a:lnTo>
                <a:lnTo>
                  <a:pt x="62" y="224"/>
                </a:lnTo>
                <a:lnTo>
                  <a:pt x="64" y="232"/>
                </a:lnTo>
                <a:lnTo>
                  <a:pt x="34" y="238"/>
                </a:lnTo>
                <a:close/>
                <a:moveTo>
                  <a:pt x="70" y="230"/>
                </a:moveTo>
                <a:lnTo>
                  <a:pt x="70" y="230"/>
                </a:lnTo>
                <a:lnTo>
                  <a:pt x="70" y="222"/>
                </a:lnTo>
                <a:lnTo>
                  <a:pt x="68" y="214"/>
                </a:lnTo>
                <a:lnTo>
                  <a:pt x="64" y="206"/>
                </a:lnTo>
                <a:lnTo>
                  <a:pt x="58" y="198"/>
                </a:lnTo>
                <a:lnTo>
                  <a:pt x="58" y="198"/>
                </a:lnTo>
                <a:lnTo>
                  <a:pt x="50" y="192"/>
                </a:lnTo>
                <a:lnTo>
                  <a:pt x="44" y="188"/>
                </a:lnTo>
                <a:lnTo>
                  <a:pt x="36" y="186"/>
                </a:lnTo>
                <a:lnTo>
                  <a:pt x="28" y="184"/>
                </a:lnTo>
                <a:lnTo>
                  <a:pt x="36" y="156"/>
                </a:lnTo>
                <a:lnTo>
                  <a:pt x="36" y="156"/>
                </a:lnTo>
                <a:lnTo>
                  <a:pt x="38" y="150"/>
                </a:lnTo>
                <a:lnTo>
                  <a:pt x="38" y="150"/>
                </a:lnTo>
                <a:lnTo>
                  <a:pt x="44" y="146"/>
                </a:lnTo>
                <a:lnTo>
                  <a:pt x="52" y="144"/>
                </a:lnTo>
                <a:lnTo>
                  <a:pt x="60" y="144"/>
                </a:lnTo>
                <a:lnTo>
                  <a:pt x="68" y="144"/>
                </a:lnTo>
                <a:lnTo>
                  <a:pt x="74" y="146"/>
                </a:lnTo>
                <a:lnTo>
                  <a:pt x="82" y="150"/>
                </a:lnTo>
                <a:lnTo>
                  <a:pt x="90" y="154"/>
                </a:lnTo>
                <a:lnTo>
                  <a:pt x="96" y="160"/>
                </a:lnTo>
                <a:lnTo>
                  <a:pt x="96" y="160"/>
                </a:lnTo>
                <a:lnTo>
                  <a:pt x="102" y="166"/>
                </a:lnTo>
                <a:lnTo>
                  <a:pt x="108" y="174"/>
                </a:lnTo>
                <a:lnTo>
                  <a:pt x="110" y="182"/>
                </a:lnTo>
                <a:lnTo>
                  <a:pt x="112" y="190"/>
                </a:lnTo>
                <a:lnTo>
                  <a:pt x="112" y="198"/>
                </a:lnTo>
                <a:lnTo>
                  <a:pt x="110" y="206"/>
                </a:lnTo>
                <a:lnTo>
                  <a:pt x="108" y="214"/>
                </a:lnTo>
                <a:lnTo>
                  <a:pt x="104" y="220"/>
                </a:lnTo>
                <a:lnTo>
                  <a:pt x="104" y="220"/>
                </a:lnTo>
                <a:lnTo>
                  <a:pt x="100" y="222"/>
                </a:lnTo>
                <a:lnTo>
                  <a:pt x="70" y="230"/>
                </a:lnTo>
                <a:close/>
                <a:moveTo>
                  <a:pt x="230" y="94"/>
                </a:moveTo>
                <a:lnTo>
                  <a:pt x="216" y="108"/>
                </a:lnTo>
                <a:lnTo>
                  <a:pt x="216" y="108"/>
                </a:lnTo>
                <a:lnTo>
                  <a:pt x="216" y="102"/>
                </a:lnTo>
                <a:lnTo>
                  <a:pt x="216" y="102"/>
                </a:lnTo>
                <a:lnTo>
                  <a:pt x="214" y="90"/>
                </a:lnTo>
                <a:lnTo>
                  <a:pt x="210" y="80"/>
                </a:lnTo>
                <a:lnTo>
                  <a:pt x="204" y="70"/>
                </a:lnTo>
                <a:lnTo>
                  <a:pt x="196" y="60"/>
                </a:lnTo>
                <a:lnTo>
                  <a:pt x="196" y="60"/>
                </a:lnTo>
                <a:lnTo>
                  <a:pt x="186" y="52"/>
                </a:lnTo>
                <a:lnTo>
                  <a:pt x="174" y="46"/>
                </a:lnTo>
                <a:lnTo>
                  <a:pt x="162" y="42"/>
                </a:lnTo>
                <a:lnTo>
                  <a:pt x="148" y="40"/>
                </a:lnTo>
                <a:lnTo>
                  <a:pt x="162" y="26"/>
                </a:lnTo>
                <a:lnTo>
                  <a:pt x="162" y="26"/>
                </a:lnTo>
                <a:lnTo>
                  <a:pt x="168" y="22"/>
                </a:lnTo>
                <a:lnTo>
                  <a:pt x="174" y="18"/>
                </a:lnTo>
                <a:lnTo>
                  <a:pt x="180" y="16"/>
                </a:lnTo>
                <a:lnTo>
                  <a:pt x="188" y="16"/>
                </a:lnTo>
                <a:lnTo>
                  <a:pt x="188" y="16"/>
                </a:lnTo>
                <a:lnTo>
                  <a:pt x="198" y="18"/>
                </a:lnTo>
                <a:lnTo>
                  <a:pt x="206" y="20"/>
                </a:lnTo>
                <a:lnTo>
                  <a:pt x="216" y="26"/>
                </a:lnTo>
                <a:lnTo>
                  <a:pt x="224" y="32"/>
                </a:lnTo>
                <a:lnTo>
                  <a:pt x="224" y="32"/>
                </a:lnTo>
                <a:lnTo>
                  <a:pt x="230" y="40"/>
                </a:lnTo>
                <a:lnTo>
                  <a:pt x="236" y="48"/>
                </a:lnTo>
                <a:lnTo>
                  <a:pt x="238" y="56"/>
                </a:lnTo>
                <a:lnTo>
                  <a:pt x="240" y="66"/>
                </a:lnTo>
                <a:lnTo>
                  <a:pt x="240" y="66"/>
                </a:lnTo>
                <a:lnTo>
                  <a:pt x="240" y="74"/>
                </a:lnTo>
                <a:lnTo>
                  <a:pt x="238" y="82"/>
                </a:lnTo>
                <a:lnTo>
                  <a:pt x="234" y="88"/>
                </a:lnTo>
                <a:lnTo>
                  <a:pt x="230" y="9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</a:ln>
        </p:spPr>
        <p:txBody>
          <a:bodyPr anchor="ctr"/>
          <a:lstStyle/>
          <a:p>
            <a:pPr algn="ctr"/>
          </a:p>
        </p:txBody>
      </p:sp>
      <p:sp>
        <p:nvSpPr>
          <p:cNvPr id="43" name="îṣľíde"/>
          <p:cNvSpPr/>
          <p:nvPr/>
        </p:nvSpPr>
        <p:spPr>
          <a:xfrm>
            <a:off x="3225800" y="2312670"/>
            <a:ext cx="1318260" cy="131826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</a:p>
        </p:txBody>
      </p:sp>
      <p:sp>
        <p:nvSpPr>
          <p:cNvPr id="44" name="ïṣḷiḍé"/>
          <p:cNvSpPr/>
          <p:nvPr/>
        </p:nvSpPr>
        <p:spPr>
          <a:xfrm>
            <a:off x="3129280" y="2216150"/>
            <a:ext cx="1511300" cy="1511300"/>
          </a:xfrm>
          <a:prstGeom prst="ellipse">
            <a:avLst/>
          </a:prstGeom>
          <a:noFill/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</a:p>
        </p:txBody>
      </p:sp>
      <p:sp>
        <p:nvSpPr>
          <p:cNvPr id="45" name="íśḻïḓe"/>
          <p:cNvSpPr/>
          <p:nvPr/>
        </p:nvSpPr>
        <p:spPr>
          <a:xfrm>
            <a:off x="5448300" y="2312670"/>
            <a:ext cx="1318260" cy="131826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</a:p>
        </p:txBody>
      </p:sp>
      <p:sp>
        <p:nvSpPr>
          <p:cNvPr id="46" name="ïṡḷïďé"/>
          <p:cNvSpPr/>
          <p:nvPr/>
        </p:nvSpPr>
        <p:spPr>
          <a:xfrm>
            <a:off x="5351145" y="2216150"/>
            <a:ext cx="1511300" cy="1511300"/>
          </a:xfrm>
          <a:prstGeom prst="ellipse">
            <a:avLst/>
          </a:prstGeom>
          <a:noFill/>
          <a:ln w="127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</a:p>
        </p:txBody>
      </p:sp>
      <p:sp>
        <p:nvSpPr>
          <p:cNvPr id="47" name="íṡļídé"/>
          <p:cNvSpPr/>
          <p:nvPr/>
        </p:nvSpPr>
        <p:spPr>
          <a:xfrm>
            <a:off x="9892030" y="2312670"/>
            <a:ext cx="1318260" cy="131826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</a:p>
        </p:txBody>
      </p:sp>
      <p:sp>
        <p:nvSpPr>
          <p:cNvPr id="48" name="išḷîḓê"/>
          <p:cNvSpPr/>
          <p:nvPr/>
        </p:nvSpPr>
        <p:spPr>
          <a:xfrm>
            <a:off x="9795510" y="2216150"/>
            <a:ext cx="1511300" cy="1511300"/>
          </a:xfrm>
          <a:prstGeom prst="ellipse">
            <a:avLst/>
          </a:prstGeom>
          <a:noFill/>
          <a:ln w="12700"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</a:p>
        </p:txBody>
      </p:sp>
      <p:sp>
        <p:nvSpPr>
          <p:cNvPr id="49" name="îśḻïḋe"/>
          <p:cNvSpPr/>
          <p:nvPr/>
        </p:nvSpPr>
        <p:spPr>
          <a:xfrm>
            <a:off x="7670165" y="2312670"/>
            <a:ext cx="1318260" cy="13182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</a:p>
        </p:txBody>
      </p:sp>
      <p:sp>
        <p:nvSpPr>
          <p:cNvPr id="50" name="ïṡ1ïďé"/>
          <p:cNvSpPr/>
          <p:nvPr/>
        </p:nvSpPr>
        <p:spPr>
          <a:xfrm>
            <a:off x="7573645" y="2216150"/>
            <a:ext cx="1511300" cy="1511300"/>
          </a:xfrm>
          <a:prstGeom prst="ellipse">
            <a:avLst/>
          </a:prstGeom>
          <a:noFill/>
          <a:ln w="12700"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</a:p>
        </p:txBody>
      </p:sp>
      <p:grpSp>
        <p:nvGrpSpPr>
          <p:cNvPr id="51" name="îśḷïdé"/>
          <p:cNvGrpSpPr/>
          <p:nvPr/>
        </p:nvGrpSpPr>
        <p:grpSpPr>
          <a:xfrm rot="0">
            <a:off x="3688080" y="2806700"/>
            <a:ext cx="391160" cy="329565"/>
            <a:chOff x="6400800" y="2000250"/>
            <a:chExt cx="406400" cy="342900"/>
          </a:xfrm>
          <a:solidFill>
            <a:schemeClr val="bg2"/>
          </a:solidFill>
        </p:grpSpPr>
        <p:sp>
          <p:nvSpPr>
            <p:cNvPr id="80" name="iślïḓé"/>
            <p:cNvSpPr/>
            <p:nvPr/>
          </p:nvSpPr>
          <p:spPr bwMode="auto">
            <a:xfrm>
              <a:off x="6502400" y="2089150"/>
              <a:ext cx="203200" cy="203200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40" y="6"/>
                </a:cxn>
                <a:cxn ang="0">
                  <a:pos x="18" y="18"/>
                </a:cxn>
                <a:cxn ang="0">
                  <a:pos x="6" y="40"/>
                </a:cxn>
                <a:cxn ang="0">
                  <a:pos x="0" y="64"/>
                </a:cxn>
                <a:cxn ang="0">
                  <a:pos x="2" y="76"/>
                </a:cxn>
                <a:cxn ang="0">
                  <a:pos x="10" y="100"/>
                </a:cxn>
                <a:cxn ang="0">
                  <a:pos x="28" y="118"/>
                </a:cxn>
                <a:cxn ang="0">
                  <a:pos x="52" y="126"/>
                </a:cxn>
                <a:cxn ang="0">
                  <a:pos x="64" y="128"/>
                </a:cxn>
                <a:cxn ang="0">
                  <a:pos x="88" y="122"/>
                </a:cxn>
                <a:cxn ang="0">
                  <a:pos x="110" y="110"/>
                </a:cxn>
                <a:cxn ang="0">
                  <a:pos x="122" y="88"/>
                </a:cxn>
                <a:cxn ang="0">
                  <a:pos x="128" y="64"/>
                </a:cxn>
                <a:cxn ang="0">
                  <a:pos x="126" y="52"/>
                </a:cxn>
                <a:cxn ang="0">
                  <a:pos x="118" y="28"/>
                </a:cxn>
                <a:cxn ang="0">
                  <a:pos x="100" y="10"/>
                </a:cxn>
                <a:cxn ang="0">
                  <a:pos x="76" y="2"/>
                </a:cxn>
                <a:cxn ang="0">
                  <a:pos x="100" y="96"/>
                </a:cxn>
                <a:cxn ang="0">
                  <a:pos x="94" y="102"/>
                </a:cxn>
                <a:cxn ang="0">
                  <a:pos x="76" y="110"/>
                </a:cxn>
                <a:cxn ang="0">
                  <a:pos x="58" y="112"/>
                </a:cxn>
                <a:cxn ang="0">
                  <a:pos x="40" y="106"/>
                </a:cxn>
                <a:cxn ang="0">
                  <a:pos x="32" y="100"/>
                </a:cxn>
                <a:cxn ang="0">
                  <a:pos x="22" y="86"/>
                </a:cxn>
                <a:cxn ang="0">
                  <a:pos x="16" y="68"/>
                </a:cxn>
                <a:cxn ang="0">
                  <a:pos x="18" y="50"/>
                </a:cxn>
                <a:cxn ang="0">
                  <a:pos x="28" y="32"/>
                </a:cxn>
                <a:cxn ang="0">
                  <a:pos x="34" y="26"/>
                </a:cxn>
                <a:cxn ang="0">
                  <a:pos x="52" y="18"/>
                </a:cxn>
                <a:cxn ang="0">
                  <a:pos x="70" y="16"/>
                </a:cxn>
                <a:cxn ang="0">
                  <a:pos x="88" y="22"/>
                </a:cxn>
                <a:cxn ang="0">
                  <a:pos x="96" y="28"/>
                </a:cxn>
                <a:cxn ang="0">
                  <a:pos x="106" y="42"/>
                </a:cxn>
                <a:cxn ang="0">
                  <a:pos x="112" y="60"/>
                </a:cxn>
                <a:cxn ang="0">
                  <a:pos x="110" y="78"/>
                </a:cxn>
                <a:cxn ang="0">
                  <a:pos x="100" y="96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lnTo>
                    <a:pt x="64" y="0"/>
                  </a:lnTo>
                  <a:lnTo>
                    <a:pt x="52" y="2"/>
                  </a:lnTo>
                  <a:lnTo>
                    <a:pt x="40" y="6"/>
                  </a:lnTo>
                  <a:lnTo>
                    <a:pt x="28" y="10"/>
                  </a:lnTo>
                  <a:lnTo>
                    <a:pt x="18" y="18"/>
                  </a:lnTo>
                  <a:lnTo>
                    <a:pt x="10" y="28"/>
                  </a:lnTo>
                  <a:lnTo>
                    <a:pt x="6" y="40"/>
                  </a:lnTo>
                  <a:lnTo>
                    <a:pt x="2" y="52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76"/>
                  </a:lnTo>
                  <a:lnTo>
                    <a:pt x="6" y="88"/>
                  </a:lnTo>
                  <a:lnTo>
                    <a:pt x="10" y="100"/>
                  </a:lnTo>
                  <a:lnTo>
                    <a:pt x="18" y="110"/>
                  </a:lnTo>
                  <a:lnTo>
                    <a:pt x="28" y="118"/>
                  </a:lnTo>
                  <a:lnTo>
                    <a:pt x="40" y="122"/>
                  </a:lnTo>
                  <a:lnTo>
                    <a:pt x="52" y="126"/>
                  </a:lnTo>
                  <a:lnTo>
                    <a:pt x="64" y="128"/>
                  </a:lnTo>
                  <a:lnTo>
                    <a:pt x="64" y="128"/>
                  </a:lnTo>
                  <a:lnTo>
                    <a:pt x="76" y="126"/>
                  </a:lnTo>
                  <a:lnTo>
                    <a:pt x="88" y="122"/>
                  </a:lnTo>
                  <a:lnTo>
                    <a:pt x="100" y="118"/>
                  </a:lnTo>
                  <a:lnTo>
                    <a:pt x="110" y="110"/>
                  </a:lnTo>
                  <a:lnTo>
                    <a:pt x="118" y="100"/>
                  </a:lnTo>
                  <a:lnTo>
                    <a:pt x="122" y="88"/>
                  </a:lnTo>
                  <a:lnTo>
                    <a:pt x="126" y="76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6" y="52"/>
                  </a:lnTo>
                  <a:lnTo>
                    <a:pt x="122" y="40"/>
                  </a:lnTo>
                  <a:lnTo>
                    <a:pt x="118" y="28"/>
                  </a:lnTo>
                  <a:lnTo>
                    <a:pt x="110" y="18"/>
                  </a:lnTo>
                  <a:lnTo>
                    <a:pt x="100" y="10"/>
                  </a:lnTo>
                  <a:lnTo>
                    <a:pt x="88" y="6"/>
                  </a:lnTo>
                  <a:lnTo>
                    <a:pt x="76" y="2"/>
                  </a:lnTo>
                  <a:lnTo>
                    <a:pt x="64" y="0"/>
                  </a:lnTo>
                  <a:close/>
                  <a:moveTo>
                    <a:pt x="100" y="96"/>
                  </a:moveTo>
                  <a:lnTo>
                    <a:pt x="100" y="96"/>
                  </a:lnTo>
                  <a:lnTo>
                    <a:pt x="94" y="102"/>
                  </a:lnTo>
                  <a:lnTo>
                    <a:pt x="86" y="106"/>
                  </a:lnTo>
                  <a:lnTo>
                    <a:pt x="76" y="110"/>
                  </a:lnTo>
                  <a:lnTo>
                    <a:pt x="68" y="112"/>
                  </a:lnTo>
                  <a:lnTo>
                    <a:pt x="58" y="112"/>
                  </a:lnTo>
                  <a:lnTo>
                    <a:pt x="50" y="110"/>
                  </a:lnTo>
                  <a:lnTo>
                    <a:pt x="40" y="106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26" y="94"/>
                  </a:lnTo>
                  <a:lnTo>
                    <a:pt x="22" y="86"/>
                  </a:lnTo>
                  <a:lnTo>
                    <a:pt x="18" y="76"/>
                  </a:lnTo>
                  <a:lnTo>
                    <a:pt x="16" y="68"/>
                  </a:lnTo>
                  <a:lnTo>
                    <a:pt x="16" y="58"/>
                  </a:lnTo>
                  <a:lnTo>
                    <a:pt x="18" y="50"/>
                  </a:lnTo>
                  <a:lnTo>
                    <a:pt x="22" y="40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4" y="26"/>
                  </a:lnTo>
                  <a:lnTo>
                    <a:pt x="42" y="22"/>
                  </a:lnTo>
                  <a:lnTo>
                    <a:pt x="52" y="18"/>
                  </a:lnTo>
                  <a:lnTo>
                    <a:pt x="60" y="16"/>
                  </a:lnTo>
                  <a:lnTo>
                    <a:pt x="70" y="16"/>
                  </a:lnTo>
                  <a:lnTo>
                    <a:pt x="78" y="18"/>
                  </a:lnTo>
                  <a:lnTo>
                    <a:pt x="88" y="22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102" y="34"/>
                  </a:lnTo>
                  <a:lnTo>
                    <a:pt x="106" y="42"/>
                  </a:lnTo>
                  <a:lnTo>
                    <a:pt x="110" y="52"/>
                  </a:lnTo>
                  <a:lnTo>
                    <a:pt x="112" y="60"/>
                  </a:lnTo>
                  <a:lnTo>
                    <a:pt x="112" y="70"/>
                  </a:lnTo>
                  <a:lnTo>
                    <a:pt x="110" y="78"/>
                  </a:lnTo>
                  <a:lnTo>
                    <a:pt x="106" y="88"/>
                  </a:lnTo>
                  <a:lnTo>
                    <a:pt x="100" y="96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81" name="íṥḷïďê"/>
            <p:cNvSpPr/>
            <p:nvPr/>
          </p:nvSpPr>
          <p:spPr bwMode="auto">
            <a:xfrm>
              <a:off x="6553200" y="2139950"/>
              <a:ext cx="57150" cy="57150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32" y="0"/>
                </a:cxn>
                <a:cxn ang="0">
                  <a:pos x="26" y="0"/>
                </a:cxn>
                <a:cxn ang="0">
                  <a:pos x="20" y="2"/>
                </a:cxn>
                <a:cxn ang="0">
                  <a:pos x="10" y="10"/>
                </a:cxn>
                <a:cxn ang="0">
                  <a:pos x="2" y="20"/>
                </a:cxn>
                <a:cxn ang="0">
                  <a:pos x="0" y="26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2" y="34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6" y="34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10" y="22"/>
                </a:cxn>
                <a:cxn ang="0">
                  <a:pos x="16" y="16"/>
                </a:cxn>
                <a:cxn ang="0">
                  <a:pos x="22" y="10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34" y="6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4" y="2"/>
                </a:cxn>
                <a:cxn ang="0">
                  <a:pos x="32" y="0"/>
                </a:cxn>
              </a:cxnLst>
              <a:rect l="0" t="0" r="r" b="b"/>
              <a:pathLst>
                <a:path w="36" h="36">
                  <a:moveTo>
                    <a:pt x="32" y="0"/>
                  </a:moveTo>
                  <a:lnTo>
                    <a:pt x="32" y="0"/>
                  </a:lnTo>
                  <a:lnTo>
                    <a:pt x="26" y="0"/>
                  </a:lnTo>
                  <a:lnTo>
                    <a:pt x="20" y="2"/>
                  </a:lnTo>
                  <a:lnTo>
                    <a:pt x="10" y="10"/>
                  </a:lnTo>
                  <a:lnTo>
                    <a:pt x="2" y="20"/>
                  </a:lnTo>
                  <a:lnTo>
                    <a:pt x="0" y="2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6" y="34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0" y="22"/>
                  </a:lnTo>
                  <a:lnTo>
                    <a:pt x="16" y="16"/>
                  </a:lnTo>
                  <a:lnTo>
                    <a:pt x="22" y="10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4" y="6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4" y="2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82" name="îṩľiďé"/>
            <p:cNvSpPr/>
            <p:nvPr/>
          </p:nvSpPr>
          <p:spPr bwMode="auto">
            <a:xfrm>
              <a:off x="6400800" y="2000250"/>
              <a:ext cx="406400" cy="342900"/>
            </a:xfrm>
            <a:custGeom>
              <a:avLst/>
              <a:gdLst/>
              <a:ahLst/>
              <a:cxnLst>
                <a:cxn ang="0">
                  <a:pos x="202" y="42"/>
                </a:cxn>
                <a:cxn ang="0">
                  <a:pos x="190" y="16"/>
                </a:cxn>
                <a:cxn ang="0">
                  <a:pos x="182" y="4"/>
                </a:cxn>
                <a:cxn ang="0">
                  <a:pos x="168" y="0"/>
                </a:cxn>
                <a:cxn ang="0">
                  <a:pos x="88" y="0"/>
                </a:cxn>
                <a:cxn ang="0">
                  <a:pos x="74" y="4"/>
                </a:cxn>
                <a:cxn ang="0">
                  <a:pos x="66" y="16"/>
                </a:cxn>
                <a:cxn ang="0">
                  <a:pos x="20" y="48"/>
                </a:cxn>
                <a:cxn ang="0">
                  <a:pos x="12" y="52"/>
                </a:cxn>
                <a:cxn ang="0">
                  <a:pos x="2" y="64"/>
                </a:cxn>
                <a:cxn ang="0">
                  <a:pos x="0" y="192"/>
                </a:cxn>
                <a:cxn ang="0">
                  <a:pos x="2" y="202"/>
                </a:cxn>
                <a:cxn ang="0">
                  <a:pos x="14" y="214"/>
                </a:cxn>
                <a:cxn ang="0">
                  <a:pos x="232" y="216"/>
                </a:cxn>
                <a:cxn ang="0">
                  <a:pos x="242" y="214"/>
                </a:cxn>
                <a:cxn ang="0">
                  <a:pos x="254" y="202"/>
                </a:cxn>
                <a:cxn ang="0">
                  <a:pos x="256" y="72"/>
                </a:cxn>
                <a:cxn ang="0">
                  <a:pos x="254" y="64"/>
                </a:cxn>
                <a:cxn ang="0">
                  <a:pos x="244" y="52"/>
                </a:cxn>
                <a:cxn ang="0">
                  <a:pos x="240" y="192"/>
                </a:cxn>
                <a:cxn ang="0">
                  <a:pos x="240" y="196"/>
                </a:cxn>
                <a:cxn ang="0">
                  <a:pos x="236" y="200"/>
                </a:cxn>
                <a:cxn ang="0">
                  <a:pos x="24" y="200"/>
                </a:cxn>
                <a:cxn ang="0">
                  <a:pos x="20" y="200"/>
                </a:cxn>
                <a:cxn ang="0">
                  <a:pos x="16" y="196"/>
                </a:cxn>
                <a:cxn ang="0">
                  <a:pos x="16" y="72"/>
                </a:cxn>
                <a:cxn ang="0">
                  <a:pos x="18" y="66"/>
                </a:cxn>
                <a:cxn ang="0">
                  <a:pos x="66" y="56"/>
                </a:cxn>
                <a:cxn ang="0">
                  <a:pos x="80" y="22"/>
                </a:cxn>
                <a:cxn ang="0">
                  <a:pos x="88" y="16"/>
                </a:cxn>
                <a:cxn ang="0">
                  <a:pos x="168" y="16"/>
                </a:cxn>
                <a:cxn ang="0">
                  <a:pos x="176" y="22"/>
                </a:cxn>
                <a:cxn ang="0">
                  <a:pos x="234" y="64"/>
                </a:cxn>
                <a:cxn ang="0">
                  <a:pos x="238" y="66"/>
                </a:cxn>
                <a:cxn ang="0">
                  <a:pos x="240" y="192"/>
                </a:cxn>
              </a:cxnLst>
              <a:rect l="0" t="0" r="r" b="b"/>
              <a:pathLst>
                <a:path w="256" h="216">
                  <a:moveTo>
                    <a:pt x="236" y="48"/>
                  </a:moveTo>
                  <a:lnTo>
                    <a:pt x="202" y="42"/>
                  </a:lnTo>
                  <a:lnTo>
                    <a:pt x="190" y="16"/>
                  </a:lnTo>
                  <a:lnTo>
                    <a:pt x="190" y="16"/>
                  </a:lnTo>
                  <a:lnTo>
                    <a:pt x="186" y="8"/>
                  </a:lnTo>
                  <a:lnTo>
                    <a:pt x="182" y="4"/>
                  </a:lnTo>
                  <a:lnTo>
                    <a:pt x="176" y="2"/>
                  </a:lnTo>
                  <a:lnTo>
                    <a:pt x="16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0" y="2"/>
                  </a:lnTo>
                  <a:lnTo>
                    <a:pt x="74" y="4"/>
                  </a:lnTo>
                  <a:lnTo>
                    <a:pt x="70" y="8"/>
                  </a:lnTo>
                  <a:lnTo>
                    <a:pt x="66" y="16"/>
                  </a:lnTo>
                  <a:lnTo>
                    <a:pt x="54" y="4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2" y="52"/>
                  </a:lnTo>
                  <a:lnTo>
                    <a:pt x="6" y="56"/>
                  </a:lnTo>
                  <a:lnTo>
                    <a:pt x="2" y="64"/>
                  </a:lnTo>
                  <a:lnTo>
                    <a:pt x="0" y="72"/>
                  </a:lnTo>
                  <a:lnTo>
                    <a:pt x="0" y="192"/>
                  </a:lnTo>
                  <a:lnTo>
                    <a:pt x="0" y="192"/>
                  </a:lnTo>
                  <a:lnTo>
                    <a:pt x="2" y="202"/>
                  </a:lnTo>
                  <a:lnTo>
                    <a:pt x="8" y="208"/>
                  </a:lnTo>
                  <a:lnTo>
                    <a:pt x="14" y="214"/>
                  </a:lnTo>
                  <a:lnTo>
                    <a:pt x="24" y="216"/>
                  </a:lnTo>
                  <a:lnTo>
                    <a:pt x="232" y="216"/>
                  </a:lnTo>
                  <a:lnTo>
                    <a:pt x="232" y="216"/>
                  </a:lnTo>
                  <a:lnTo>
                    <a:pt x="242" y="214"/>
                  </a:lnTo>
                  <a:lnTo>
                    <a:pt x="248" y="208"/>
                  </a:lnTo>
                  <a:lnTo>
                    <a:pt x="254" y="202"/>
                  </a:lnTo>
                  <a:lnTo>
                    <a:pt x="256" y="192"/>
                  </a:lnTo>
                  <a:lnTo>
                    <a:pt x="256" y="72"/>
                  </a:lnTo>
                  <a:lnTo>
                    <a:pt x="256" y="72"/>
                  </a:lnTo>
                  <a:lnTo>
                    <a:pt x="254" y="64"/>
                  </a:lnTo>
                  <a:lnTo>
                    <a:pt x="250" y="56"/>
                  </a:lnTo>
                  <a:lnTo>
                    <a:pt x="244" y="52"/>
                  </a:lnTo>
                  <a:lnTo>
                    <a:pt x="236" y="48"/>
                  </a:lnTo>
                  <a:close/>
                  <a:moveTo>
                    <a:pt x="240" y="192"/>
                  </a:moveTo>
                  <a:lnTo>
                    <a:pt x="240" y="192"/>
                  </a:lnTo>
                  <a:lnTo>
                    <a:pt x="240" y="196"/>
                  </a:lnTo>
                  <a:lnTo>
                    <a:pt x="238" y="198"/>
                  </a:lnTo>
                  <a:lnTo>
                    <a:pt x="236" y="200"/>
                  </a:lnTo>
                  <a:lnTo>
                    <a:pt x="232" y="200"/>
                  </a:lnTo>
                  <a:lnTo>
                    <a:pt x="24" y="200"/>
                  </a:lnTo>
                  <a:lnTo>
                    <a:pt x="24" y="200"/>
                  </a:lnTo>
                  <a:lnTo>
                    <a:pt x="20" y="200"/>
                  </a:lnTo>
                  <a:lnTo>
                    <a:pt x="18" y="198"/>
                  </a:lnTo>
                  <a:lnTo>
                    <a:pt x="16" y="196"/>
                  </a:lnTo>
                  <a:lnTo>
                    <a:pt x="16" y="19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8" y="66"/>
                  </a:lnTo>
                  <a:lnTo>
                    <a:pt x="22" y="64"/>
                  </a:lnTo>
                  <a:lnTo>
                    <a:pt x="66" y="56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4" y="18"/>
                  </a:lnTo>
                  <a:lnTo>
                    <a:pt x="88" y="16"/>
                  </a:lnTo>
                  <a:lnTo>
                    <a:pt x="168" y="16"/>
                  </a:lnTo>
                  <a:lnTo>
                    <a:pt x="168" y="16"/>
                  </a:lnTo>
                  <a:lnTo>
                    <a:pt x="172" y="18"/>
                  </a:lnTo>
                  <a:lnTo>
                    <a:pt x="176" y="22"/>
                  </a:lnTo>
                  <a:lnTo>
                    <a:pt x="190" y="56"/>
                  </a:lnTo>
                  <a:lnTo>
                    <a:pt x="234" y="64"/>
                  </a:lnTo>
                  <a:lnTo>
                    <a:pt x="234" y="64"/>
                  </a:lnTo>
                  <a:lnTo>
                    <a:pt x="238" y="66"/>
                  </a:lnTo>
                  <a:lnTo>
                    <a:pt x="240" y="72"/>
                  </a:lnTo>
                  <a:lnTo>
                    <a:pt x="240" y="192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</p:grpSp>
      <p:grpSp>
        <p:nvGrpSpPr>
          <p:cNvPr id="52" name="işļïdé"/>
          <p:cNvGrpSpPr/>
          <p:nvPr/>
        </p:nvGrpSpPr>
        <p:grpSpPr>
          <a:xfrm rot="0">
            <a:off x="5875020" y="2751455"/>
            <a:ext cx="441325" cy="441325"/>
            <a:chOff x="3149600" y="2774950"/>
            <a:chExt cx="406400" cy="406400"/>
          </a:xfrm>
          <a:solidFill>
            <a:schemeClr val="bg2"/>
          </a:solidFill>
        </p:grpSpPr>
        <p:sp>
          <p:nvSpPr>
            <p:cNvPr id="74" name="ïşļïḋè"/>
            <p:cNvSpPr/>
            <p:nvPr/>
          </p:nvSpPr>
          <p:spPr bwMode="auto">
            <a:xfrm>
              <a:off x="3327400" y="2978150"/>
              <a:ext cx="63500" cy="63500"/>
            </a:xfrm>
            <a:custGeom>
              <a:avLst/>
              <a:gdLst/>
              <a:ahLst/>
              <a:cxnLst>
                <a:cxn ang="0">
                  <a:pos x="20" y="40"/>
                </a:cxn>
                <a:cxn ang="0">
                  <a:pos x="20" y="40"/>
                </a:cxn>
                <a:cxn ang="0">
                  <a:pos x="28" y="38"/>
                </a:cxn>
                <a:cxn ang="0">
                  <a:pos x="34" y="34"/>
                </a:cxn>
                <a:cxn ang="0">
                  <a:pos x="38" y="28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38" y="12"/>
                </a:cxn>
                <a:cxn ang="0">
                  <a:pos x="34" y="6"/>
                </a:cxn>
                <a:cxn ang="0">
                  <a:pos x="28" y="2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12" y="2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2" y="28"/>
                </a:cxn>
                <a:cxn ang="0">
                  <a:pos x="6" y="34"/>
                </a:cxn>
                <a:cxn ang="0">
                  <a:pos x="12" y="38"/>
                </a:cxn>
                <a:cxn ang="0">
                  <a:pos x="20" y="40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16" y="8"/>
                </a:cxn>
                <a:cxn ang="0">
                  <a:pos x="20" y="8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lnTo>
                    <a:pt x="20" y="40"/>
                  </a:lnTo>
                  <a:lnTo>
                    <a:pt x="28" y="38"/>
                  </a:lnTo>
                  <a:lnTo>
                    <a:pt x="34" y="34"/>
                  </a:lnTo>
                  <a:lnTo>
                    <a:pt x="38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8" y="12"/>
                  </a:lnTo>
                  <a:lnTo>
                    <a:pt x="34" y="6"/>
                  </a:lnTo>
                  <a:lnTo>
                    <a:pt x="28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2" y="38"/>
                  </a:lnTo>
                  <a:lnTo>
                    <a:pt x="20" y="40"/>
                  </a:lnTo>
                  <a:close/>
                  <a:moveTo>
                    <a:pt x="20" y="8"/>
                  </a:moveTo>
                  <a:lnTo>
                    <a:pt x="20" y="8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20" y="8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5" name="işlîḋè"/>
            <p:cNvSpPr/>
            <p:nvPr/>
          </p:nvSpPr>
          <p:spPr bwMode="auto">
            <a:xfrm>
              <a:off x="3492500" y="2774950"/>
              <a:ext cx="63500" cy="6350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0"/>
                </a:cxn>
                <a:cxn ang="0">
                  <a:pos x="12" y="2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2" y="28"/>
                </a:cxn>
                <a:cxn ang="0">
                  <a:pos x="6" y="34"/>
                </a:cxn>
                <a:cxn ang="0">
                  <a:pos x="12" y="38"/>
                </a:cxn>
                <a:cxn ang="0">
                  <a:pos x="20" y="40"/>
                </a:cxn>
                <a:cxn ang="0">
                  <a:pos x="20" y="40"/>
                </a:cxn>
                <a:cxn ang="0">
                  <a:pos x="28" y="38"/>
                </a:cxn>
                <a:cxn ang="0">
                  <a:pos x="34" y="34"/>
                </a:cxn>
                <a:cxn ang="0">
                  <a:pos x="38" y="28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38" y="12"/>
                </a:cxn>
                <a:cxn ang="0">
                  <a:pos x="34" y="6"/>
                </a:cxn>
                <a:cxn ang="0">
                  <a:pos x="28" y="2"/>
                </a:cxn>
                <a:cxn ang="0">
                  <a:pos x="20" y="0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0" y="32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2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8" y="38"/>
                  </a:lnTo>
                  <a:lnTo>
                    <a:pt x="34" y="34"/>
                  </a:lnTo>
                  <a:lnTo>
                    <a:pt x="38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8" y="12"/>
                  </a:lnTo>
                  <a:lnTo>
                    <a:pt x="34" y="6"/>
                  </a:lnTo>
                  <a:lnTo>
                    <a:pt x="28" y="2"/>
                  </a:lnTo>
                  <a:lnTo>
                    <a:pt x="20" y="0"/>
                  </a:lnTo>
                  <a:close/>
                  <a:moveTo>
                    <a:pt x="20" y="32"/>
                  </a:moveTo>
                  <a:lnTo>
                    <a:pt x="20" y="32"/>
                  </a:lnTo>
                  <a:lnTo>
                    <a:pt x="16" y="32"/>
                  </a:lnTo>
                  <a:lnTo>
                    <a:pt x="12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0" y="32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6" name="îṣľïḋê"/>
            <p:cNvSpPr/>
            <p:nvPr/>
          </p:nvSpPr>
          <p:spPr bwMode="auto">
            <a:xfrm>
              <a:off x="3251200" y="2965450"/>
              <a:ext cx="50800" cy="50800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16"/>
                </a:cxn>
                <a:cxn ang="0">
                  <a:pos x="2" y="22"/>
                </a:cxn>
                <a:cxn ang="0">
                  <a:pos x="4" y="28"/>
                </a:cxn>
                <a:cxn ang="0">
                  <a:pos x="10" y="30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22" y="30"/>
                </a:cxn>
                <a:cxn ang="0">
                  <a:pos x="28" y="28"/>
                </a:cxn>
                <a:cxn ang="0">
                  <a:pos x="30" y="22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0" y="10"/>
                </a:cxn>
                <a:cxn ang="0">
                  <a:pos x="28" y="4"/>
                </a:cxn>
                <a:cxn ang="0">
                  <a:pos x="22" y="2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0" y="2"/>
                </a:cxn>
                <a:cxn ang="0">
                  <a:pos x="4" y="4"/>
                </a:cxn>
                <a:cxn ang="0">
                  <a:pos x="2" y="10"/>
                </a:cxn>
                <a:cxn ang="0">
                  <a:pos x="0" y="16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2" y="10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20"/>
                </a:cxn>
                <a:cxn ang="0">
                  <a:pos x="22" y="22"/>
                </a:cxn>
                <a:cxn ang="0">
                  <a:pos x="20" y="24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10" y="22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6" y="8"/>
                </a:cxn>
              </a:cxnLst>
              <a:rect l="0" t="0" r="r" b="b"/>
              <a:pathLst>
                <a:path w="32" h="32">
                  <a:moveTo>
                    <a:pt x="0" y="16"/>
                  </a:moveTo>
                  <a:lnTo>
                    <a:pt x="0" y="16"/>
                  </a:lnTo>
                  <a:lnTo>
                    <a:pt x="2" y="22"/>
                  </a:lnTo>
                  <a:lnTo>
                    <a:pt x="4" y="28"/>
                  </a:lnTo>
                  <a:lnTo>
                    <a:pt x="10" y="30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22" y="30"/>
                  </a:lnTo>
                  <a:lnTo>
                    <a:pt x="28" y="28"/>
                  </a:lnTo>
                  <a:lnTo>
                    <a:pt x="30" y="2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6"/>
                  </a:lnTo>
                  <a:close/>
                  <a:moveTo>
                    <a:pt x="16" y="8"/>
                  </a:moveTo>
                  <a:lnTo>
                    <a:pt x="16" y="8"/>
                  </a:lnTo>
                  <a:lnTo>
                    <a:pt x="20" y="8"/>
                  </a:lnTo>
                  <a:lnTo>
                    <a:pt x="22" y="10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2" y="22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0" y="22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6" y="8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7" name="ís1ide"/>
            <p:cNvSpPr/>
            <p:nvPr/>
          </p:nvSpPr>
          <p:spPr bwMode="auto">
            <a:xfrm>
              <a:off x="3302000" y="3054350"/>
              <a:ext cx="25400" cy="25400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4" y="14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6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lnTo>
                    <a:pt x="8" y="16"/>
                  </a:lnTo>
                  <a:lnTo>
                    <a:pt x="12" y="16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8" name="iŝliḍê"/>
            <p:cNvSpPr/>
            <p:nvPr/>
          </p:nvSpPr>
          <p:spPr bwMode="auto">
            <a:xfrm>
              <a:off x="3505200" y="2863850"/>
              <a:ext cx="25400" cy="254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4" y="14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8" y="0"/>
                </a:cxn>
              </a:cxnLst>
              <a:rect l="0" t="0" r="r" b="b"/>
              <a:pathLst>
                <a:path w="16" h="16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9" name="ïṥľíďe"/>
            <p:cNvSpPr/>
            <p:nvPr/>
          </p:nvSpPr>
          <p:spPr bwMode="auto">
            <a:xfrm>
              <a:off x="3149600" y="2813050"/>
              <a:ext cx="371475" cy="368300"/>
            </a:xfrm>
            <a:custGeom>
              <a:avLst/>
              <a:gdLst/>
              <a:ahLst/>
              <a:cxnLst>
                <a:cxn ang="0">
                  <a:pos x="166" y="6"/>
                </a:cxn>
                <a:cxn ang="0">
                  <a:pos x="152" y="0"/>
                </a:cxn>
                <a:cxn ang="0">
                  <a:pos x="144" y="2"/>
                </a:cxn>
                <a:cxn ang="0">
                  <a:pos x="126" y="18"/>
                </a:cxn>
                <a:cxn ang="0">
                  <a:pos x="122" y="24"/>
                </a:cxn>
                <a:cxn ang="0">
                  <a:pos x="120" y="32"/>
                </a:cxn>
                <a:cxn ang="0">
                  <a:pos x="122" y="42"/>
                </a:cxn>
                <a:cxn ang="0">
                  <a:pos x="14" y="86"/>
                </a:cxn>
                <a:cxn ang="0">
                  <a:pos x="6" y="92"/>
                </a:cxn>
                <a:cxn ang="0">
                  <a:pos x="0" y="102"/>
                </a:cxn>
                <a:cxn ang="0">
                  <a:pos x="0" y="108"/>
                </a:cxn>
                <a:cxn ang="0">
                  <a:pos x="4" y="120"/>
                </a:cxn>
                <a:cxn ang="0">
                  <a:pos x="108" y="224"/>
                </a:cxn>
                <a:cxn ang="0">
                  <a:pos x="116" y="230"/>
                </a:cxn>
                <a:cxn ang="0">
                  <a:pos x="126" y="232"/>
                </a:cxn>
                <a:cxn ang="0">
                  <a:pos x="126" y="232"/>
                </a:cxn>
                <a:cxn ang="0">
                  <a:pos x="130" y="232"/>
                </a:cxn>
                <a:cxn ang="0">
                  <a:pos x="142" y="226"/>
                </a:cxn>
                <a:cxn ang="0">
                  <a:pos x="148" y="216"/>
                </a:cxn>
                <a:cxn ang="0">
                  <a:pos x="190" y="110"/>
                </a:cxn>
                <a:cxn ang="0">
                  <a:pos x="202" y="114"/>
                </a:cxn>
                <a:cxn ang="0">
                  <a:pos x="210" y="112"/>
                </a:cxn>
                <a:cxn ang="0">
                  <a:pos x="228" y="96"/>
                </a:cxn>
                <a:cxn ang="0">
                  <a:pos x="232" y="90"/>
                </a:cxn>
                <a:cxn ang="0">
                  <a:pos x="234" y="82"/>
                </a:cxn>
                <a:cxn ang="0">
                  <a:pos x="228" y="68"/>
                </a:cxn>
                <a:cxn ang="0">
                  <a:pos x="134" y="210"/>
                </a:cxn>
                <a:cxn ang="0">
                  <a:pos x="130" y="214"/>
                </a:cxn>
                <a:cxn ang="0">
                  <a:pos x="128" y="216"/>
                </a:cxn>
                <a:cxn ang="0">
                  <a:pos x="126" y="216"/>
                </a:cxn>
                <a:cxn ang="0">
                  <a:pos x="18" y="112"/>
                </a:cxn>
                <a:cxn ang="0">
                  <a:pos x="16" y="110"/>
                </a:cxn>
                <a:cxn ang="0">
                  <a:pos x="16" y="106"/>
                </a:cxn>
                <a:cxn ang="0">
                  <a:pos x="20" y="100"/>
                </a:cxn>
                <a:cxn ang="0">
                  <a:pos x="70" y="80"/>
                </a:cxn>
                <a:cxn ang="0">
                  <a:pos x="96" y="86"/>
                </a:cxn>
                <a:cxn ang="0">
                  <a:pos x="134" y="92"/>
                </a:cxn>
                <a:cxn ang="0">
                  <a:pos x="158" y="104"/>
                </a:cxn>
                <a:cxn ang="0">
                  <a:pos x="134" y="210"/>
                </a:cxn>
                <a:cxn ang="0">
                  <a:pos x="204" y="96"/>
                </a:cxn>
                <a:cxn ang="0">
                  <a:pos x="202" y="98"/>
                </a:cxn>
                <a:cxn ang="0">
                  <a:pos x="184" y="82"/>
                </a:cxn>
                <a:cxn ang="0">
                  <a:pos x="174" y="108"/>
                </a:cxn>
                <a:cxn ang="0">
                  <a:pos x="166" y="100"/>
                </a:cxn>
                <a:cxn ang="0">
                  <a:pos x="138" y="86"/>
                </a:cxn>
                <a:cxn ang="0">
                  <a:pos x="104" y="78"/>
                </a:cxn>
                <a:cxn ang="0">
                  <a:pos x="82" y="76"/>
                </a:cxn>
                <a:cxn ang="0">
                  <a:pos x="138" y="34"/>
                </a:cxn>
                <a:cxn ang="0">
                  <a:pos x="136" y="32"/>
                </a:cxn>
                <a:cxn ang="0">
                  <a:pos x="148" y="18"/>
                </a:cxn>
                <a:cxn ang="0">
                  <a:pos x="152" y="16"/>
                </a:cxn>
                <a:cxn ang="0">
                  <a:pos x="216" y="78"/>
                </a:cxn>
                <a:cxn ang="0">
                  <a:pos x="218" y="82"/>
                </a:cxn>
              </a:cxnLst>
              <a:rect l="0" t="0" r="r" b="b"/>
              <a:pathLst>
                <a:path w="234" h="232">
                  <a:moveTo>
                    <a:pt x="166" y="6"/>
                  </a:moveTo>
                  <a:lnTo>
                    <a:pt x="166" y="6"/>
                  </a:lnTo>
                  <a:lnTo>
                    <a:pt x="158" y="2"/>
                  </a:lnTo>
                  <a:lnTo>
                    <a:pt x="152" y="0"/>
                  </a:lnTo>
                  <a:lnTo>
                    <a:pt x="152" y="0"/>
                  </a:lnTo>
                  <a:lnTo>
                    <a:pt x="144" y="2"/>
                  </a:lnTo>
                  <a:lnTo>
                    <a:pt x="138" y="6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2" y="24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2" y="42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0" y="88"/>
                  </a:lnTo>
                  <a:lnTo>
                    <a:pt x="6" y="92"/>
                  </a:lnTo>
                  <a:lnTo>
                    <a:pt x="2" y="98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8"/>
                  </a:lnTo>
                  <a:lnTo>
                    <a:pt x="2" y="114"/>
                  </a:lnTo>
                  <a:lnTo>
                    <a:pt x="4" y="120"/>
                  </a:lnTo>
                  <a:lnTo>
                    <a:pt x="8" y="124"/>
                  </a:lnTo>
                  <a:lnTo>
                    <a:pt x="108" y="224"/>
                  </a:lnTo>
                  <a:lnTo>
                    <a:pt x="108" y="224"/>
                  </a:lnTo>
                  <a:lnTo>
                    <a:pt x="116" y="230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30" y="232"/>
                  </a:lnTo>
                  <a:lnTo>
                    <a:pt x="130" y="232"/>
                  </a:lnTo>
                  <a:lnTo>
                    <a:pt x="136" y="230"/>
                  </a:lnTo>
                  <a:lnTo>
                    <a:pt x="142" y="226"/>
                  </a:lnTo>
                  <a:lnTo>
                    <a:pt x="146" y="222"/>
                  </a:lnTo>
                  <a:lnTo>
                    <a:pt x="148" y="216"/>
                  </a:lnTo>
                  <a:lnTo>
                    <a:pt x="190" y="110"/>
                  </a:lnTo>
                  <a:lnTo>
                    <a:pt x="190" y="110"/>
                  </a:lnTo>
                  <a:lnTo>
                    <a:pt x="196" y="112"/>
                  </a:lnTo>
                  <a:lnTo>
                    <a:pt x="202" y="114"/>
                  </a:lnTo>
                  <a:lnTo>
                    <a:pt x="202" y="114"/>
                  </a:lnTo>
                  <a:lnTo>
                    <a:pt x="210" y="112"/>
                  </a:lnTo>
                  <a:lnTo>
                    <a:pt x="216" y="108"/>
                  </a:lnTo>
                  <a:lnTo>
                    <a:pt x="228" y="96"/>
                  </a:lnTo>
                  <a:lnTo>
                    <a:pt x="228" y="96"/>
                  </a:lnTo>
                  <a:lnTo>
                    <a:pt x="232" y="90"/>
                  </a:lnTo>
                  <a:lnTo>
                    <a:pt x="234" y="82"/>
                  </a:lnTo>
                  <a:lnTo>
                    <a:pt x="234" y="82"/>
                  </a:lnTo>
                  <a:lnTo>
                    <a:pt x="232" y="74"/>
                  </a:lnTo>
                  <a:lnTo>
                    <a:pt x="228" y="68"/>
                  </a:lnTo>
                  <a:lnTo>
                    <a:pt x="166" y="6"/>
                  </a:lnTo>
                  <a:close/>
                  <a:moveTo>
                    <a:pt x="134" y="210"/>
                  </a:moveTo>
                  <a:lnTo>
                    <a:pt x="134" y="210"/>
                  </a:lnTo>
                  <a:lnTo>
                    <a:pt x="130" y="214"/>
                  </a:lnTo>
                  <a:lnTo>
                    <a:pt x="128" y="216"/>
                  </a:lnTo>
                  <a:lnTo>
                    <a:pt x="128" y="216"/>
                  </a:lnTo>
                  <a:lnTo>
                    <a:pt x="126" y="216"/>
                  </a:lnTo>
                  <a:lnTo>
                    <a:pt x="126" y="216"/>
                  </a:lnTo>
                  <a:lnTo>
                    <a:pt x="120" y="214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16" y="110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8" y="102"/>
                  </a:lnTo>
                  <a:lnTo>
                    <a:pt x="20" y="10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84" y="84"/>
                  </a:lnTo>
                  <a:lnTo>
                    <a:pt x="96" y="86"/>
                  </a:lnTo>
                  <a:lnTo>
                    <a:pt x="120" y="88"/>
                  </a:lnTo>
                  <a:lnTo>
                    <a:pt x="134" y="92"/>
                  </a:lnTo>
                  <a:lnTo>
                    <a:pt x="146" y="98"/>
                  </a:lnTo>
                  <a:lnTo>
                    <a:pt x="158" y="104"/>
                  </a:lnTo>
                  <a:lnTo>
                    <a:pt x="172" y="116"/>
                  </a:lnTo>
                  <a:lnTo>
                    <a:pt x="134" y="210"/>
                  </a:lnTo>
                  <a:close/>
                  <a:moveTo>
                    <a:pt x="216" y="84"/>
                  </a:moveTo>
                  <a:lnTo>
                    <a:pt x="204" y="96"/>
                  </a:lnTo>
                  <a:lnTo>
                    <a:pt x="204" y="96"/>
                  </a:lnTo>
                  <a:lnTo>
                    <a:pt x="202" y="98"/>
                  </a:lnTo>
                  <a:lnTo>
                    <a:pt x="198" y="96"/>
                  </a:lnTo>
                  <a:lnTo>
                    <a:pt x="184" y="82"/>
                  </a:lnTo>
                  <a:lnTo>
                    <a:pt x="174" y="110"/>
                  </a:lnTo>
                  <a:lnTo>
                    <a:pt x="174" y="108"/>
                  </a:lnTo>
                  <a:lnTo>
                    <a:pt x="174" y="108"/>
                  </a:lnTo>
                  <a:lnTo>
                    <a:pt x="166" y="100"/>
                  </a:lnTo>
                  <a:lnTo>
                    <a:pt x="156" y="94"/>
                  </a:lnTo>
                  <a:lnTo>
                    <a:pt x="138" y="86"/>
                  </a:lnTo>
                  <a:lnTo>
                    <a:pt x="120" y="80"/>
                  </a:lnTo>
                  <a:lnTo>
                    <a:pt x="104" y="78"/>
                  </a:lnTo>
                  <a:lnTo>
                    <a:pt x="104" y="78"/>
                  </a:lnTo>
                  <a:lnTo>
                    <a:pt x="82" y="76"/>
                  </a:lnTo>
                  <a:lnTo>
                    <a:pt x="150" y="48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36" y="32"/>
                  </a:lnTo>
                  <a:lnTo>
                    <a:pt x="138" y="28"/>
                  </a:lnTo>
                  <a:lnTo>
                    <a:pt x="148" y="18"/>
                  </a:lnTo>
                  <a:lnTo>
                    <a:pt x="148" y="18"/>
                  </a:lnTo>
                  <a:lnTo>
                    <a:pt x="152" y="16"/>
                  </a:lnTo>
                  <a:lnTo>
                    <a:pt x="154" y="18"/>
                  </a:lnTo>
                  <a:lnTo>
                    <a:pt x="216" y="78"/>
                  </a:lnTo>
                  <a:lnTo>
                    <a:pt x="216" y="78"/>
                  </a:lnTo>
                  <a:lnTo>
                    <a:pt x="218" y="82"/>
                  </a:lnTo>
                  <a:lnTo>
                    <a:pt x="216" y="84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</p:grpSp>
      <p:grpSp>
        <p:nvGrpSpPr>
          <p:cNvPr id="53" name="ïśľiḍê"/>
          <p:cNvGrpSpPr/>
          <p:nvPr/>
        </p:nvGrpSpPr>
        <p:grpSpPr>
          <a:xfrm rot="0">
            <a:off x="8213090" y="2802890"/>
            <a:ext cx="232410" cy="337820"/>
            <a:chOff x="4838700" y="2774950"/>
            <a:chExt cx="279400" cy="406400"/>
          </a:xfrm>
          <a:solidFill>
            <a:schemeClr val="bg2"/>
          </a:solidFill>
        </p:grpSpPr>
        <p:sp>
          <p:nvSpPr>
            <p:cNvPr id="71" name="i$1ïḓê"/>
            <p:cNvSpPr/>
            <p:nvPr/>
          </p:nvSpPr>
          <p:spPr bwMode="auto">
            <a:xfrm>
              <a:off x="4838700" y="2774950"/>
              <a:ext cx="279400" cy="406400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54" y="6"/>
                </a:cxn>
                <a:cxn ang="0">
                  <a:pos x="26" y="26"/>
                </a:cxn>
                <a:cxn ang="0">
                  <a:pos x="6" y="54"/>
                </a:cxn>
                <a:cxn ang="0">
                  <a:pos x="0" y="88"/>
                </a:cxn>
                <a:cxn ang="0">
                  <a:pos x="2" y="100"/>
                </a:cxn>
                <a:cxn ang="0">
                  <a:pos x="16" y="138"/>
                </a:cxn>
                <a:cxn ang="0">
                  <a:pos x="40" y="184"/>
                </a:cxn>
                <a:cxn ang="0">
                  <a:pos x="50" y="214"/>
                </a:cxn>
                <a:cxn ang="0">
                  <a:pos x="62" y="246"/>
                </a:cxn>
                <a:cxn ang="0">
                  <a:pos x="76" y="254"/>
                </a:cxn>
                <a:cxn ang="0">
                  <a:pos x="88" y="256"/>
                </a:cxn>
                <a:cxn ang="0">
                  <a:pos x="108" y="252"/>
                </a:cxn>
                <a:cxn ang="0">
                  <a:pos x="118" y="238"/>
                </a:cxn>
                <a:cxn ang="0">
                  <a:pos x="136" y="184"/>
                </a:cxn>
                <a:cxn ang="0">
                  <a:pos x="146" y="162"/>
                </a:cxn>
                <a:cxn ang="0">
                  <a:pos x="172" y="112"/>
                </a:cxn>
                <a:cxn ang="0">
                  <a:pos x="176" y="88"/>
                </a:cxn>
                <a:cxn ang="0">
                  <a:pos x="174" y="70"/>
                </a:cxn>
                <a:cxn ang="0">
                  <a:pos x="160" y="38"/>
                </a:cxn>
                <a:cxn ang="0">
                  <a:pos x="138" y="16"/>
                </a:cxn>
                <a:cxn ang="0">
                  <a:pos x="106" y="2"/>
                </a:cxn>
                <a:cxn ang="0">
                  <a:pos x="108" y="218"/>
                </a:cxn>
                <a:cxn ang="0">
                  <a:pos x="70" y="222"/>
                </a:cxn>
                <a:cxn ang="0">
                  <a:pos x="64" y="208"/>
                </a:cxn>
                <a:cxn ang="0">
                  <a:pos x="114" y="200"/>
                </a:cxn>
                <a:cxn ang="0">
                  <a:pos x="112" y="208"/>
                </a:cxn>
                <a:cxn ang="0">
                  <a:pos x="108" y="218"/>
                </a:cxn>
                <a:cxn ang="0">
                  <a:pos x="62" y="200"/>
                </a:cxn>
                <a:cxn ang="0">
                  <a:pos x="120" y="184"/>
                </a:cxn>
                <a:cxn ang="0">
                  <a:pos x="116" y="192"/>
                </a:cxn>
                <a:cxn ang="0">
                  <a:pos x="88" y="240"/>
                </a:cxn>
                <a:cxn ang="0">
                  <a:pos x="82" y="240"/>
                </a:cxn>
                <a:cxn ang="0">
                  <a:pos x="76" y="236"/>
                </a:cxn>
                <a:cxn ang="0">
                  <a:pos x="106" y="226"/>
                </a:cxn>
                <a:cxn ang="0">
                  <a:pos x="102" y="234"/>
                </a:cxn>
                <a:cxn ang="0">
                  <a:pos x="94" y="240"/>
                </a:cxn>
                <a:cxn ang="0">
                  <a:pos x="126" y="168"/>
                </a:cxn>
                <a:cxn ang="0">
                  <a:pos x="50" y="168"/>
                </a:cxn>
                <a:cxn ang="0">
                  <a:pos x="38" y="142"/>
                </a:cxn>
                <a:cxn ang="0">
                  <a:pos x="18" y="100"/>
                </a:cxn>
                <a:cxn ang="0">
                  <a:pos x="16" y="88"/>
                </a:cxn>
                <a:cxn ang="0">
                  <a:pos x="22" y="60"/>
                </a:cxn>
                <a:cxn ang="0">
                  <a:pos x="38" y="38"/>
                </a:cxn>
                <a:cxn ang="0">
                  <a:pos x="60" y="22"/>
                </a:cxn>
                <a:cxn ang="0">
                  <a:pos x="88" y="16"/>
                </a:cxn>
                <a:cxn ang="0">
                  <a:pos x="102" y="18"/>
                </a:cxn>
                <a:cxn ang="0">
                  <a:pos x="128" y="28"/>
                </a:cxn>
                <a:cxn ang="0">
                  <a:pos x="148" y="48"/>
                </a:cxn>
                <a:cxn ang="0">
                  <a:pos x="158" y="74"/>
                </a:cxn>
                <a:cxn ang="0">
                  <a:pos x="160" y="88"/>
                </a:cxn>
                <a:cxn ang="0">
                  <a:pos x="154" y="114"/>
                </a:cxn>
                <a:cxn ang="0">
                  <a:pos x="138" y="142"/>
                </a:cxn>
              </a:cxnLst>
              <a:rect l="0" t="0" r="r" b="b"/>
              <a:pathLst>
                <a:path w="176" h="256">
                  <a:moveTo>
                    <a:pt x="88" y="0"/>
                  </a:moveTo>
                  <a:lnTo>
                    <a:pt x="88" y="0"/>
                  </a:lnTo>
                  <a:lnTo>
                    <a:pt x="70" y="2"/>
                  </a:lnTo>
                  <a:lnTo>
                    <a:pt x="54" y="6"/>
                  </a:lnTo>
                  <a:lnTo>
                    <a:pt x="38" y="16"/>
                  </a:lnTo>
                  <a:lnTo>
                    <a:pt x="26" y="26"/>
                  </a:lnTo>
                  <a:lnTo>
                    <a:pt x="16" y="38"/>
                  </a:lnTo>
                  <a:lnTo>
                    <a:pt x="6" y="54"/>
                  </a:lnTo>
                  <a:lnTo>
                    <a:pt x="2" y="70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2" y="100"/>
                  </a:lnTo>
                  <a:lnTo>
                    <a:pt x="4" y="112"/>
                  </a:lnTo>
                  <a:lnTo>
                    <a:pt x="16" y="138"/>
                  </a:lnTo>
                  <a:lnTo>
                    <a:pt x="30" y="162"/>
                  </a:lnTo>
                  <a:lnTo>
                    <a:pt x="40" y="184"/>
                  </a:lnTo>
                  <a:lnTo>
                    <a:pt x="40" y="184"/>
                  </a:lnTo>
                  <a:lnTo>
                    <a:pt x="50" y="214"/>
                  </a:lnTo>
                  <a:lnTo>
                    <a:pt x="58" y="238"/>
                  </a:lnTo>
                  <a:lnTo>
                    <a:pt x="62" y="246"/>
                  </a:lnTo>
                  <a:lnTo>
                    <a:pt x="68" y="252"/>
                  </a:lnTo>
                  <a:lnTo>
                    <a:pt x="76" y="254"/>
                  </a:lnTo>
                  <a:lnTo>
                    <a:pt x="88" y="256"/>
                  </a:lnTo>
                  <a:lnTo>
                    <a:pt x="88" y="256"/>
                  </a:lnTo>
                  <a:lnTo>
                    <a:pt x="100" y="254"/>
                  </a:lnTo>
                  <a:lnTo>
                    <a:pt x="108" y="252"/>
                  </a:lnTo>
                  <a:lnTo>
                    <a:pt x="114" y="246"/>
                  </a:lnTo>
                  <a:lnTo>
                    <a:pt x="118" y="238"/>
                  </a:lnTo>
                  <a:lnTo>
                    <a:pt x="126" y="214"/>
                  </a:lnTo>
                  <a:lnTo>
                    <a:pt x="136" y="184"/>
                  </a:lnTo>
                  <a:lnTo>
                    <a:pt x="136" y="184"/>
                  </a:lnTo>
                  <a:lnTo>
                    <a:pt x="146" y="162"/>
                  </a:lnTo>
                  <a:lnTo>
                    <a:pt x="160" y="138"/>
                  </a:lnTo>
                  <a:lnTo>
                    <a:pt x="172" y="112"/>
                  </a:lnTo>
                  <a:lnTo>
                    <a:pt x="174" y="100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4" y="70"/>
                  </a:lnTo>
                  <a:lnTo>
                    <a:pt x="170" y="54"/>
                  </a:lnTo>
                  <a:lnTo>
                    <a:pt x="160" y="38"/>
                  </a:lnTo>
                  <a:lnTo>
                    <a:pt x="150" y="26"/>
                  </a:lnTo>
                  <a:lnTo>
                    <a:pt x="138" y="16"/>
                  </a:lnTo>
                  <a:lnTo>
                    <a:pt x="122" y="6"/>
                  </a:lnTo>
                  <a:lnTo>
                    <a:pt x="106" y="2"/>
                  </a:lnTo>
                  <a:lnTo>
                    <a:pt x="88" y="0"/>
                  </a:lnTo>
                  <a:close/>
                  <a:moveTo>
                    <a:pt x="108" y="218"/>
                  </a:moveTo>
                  <a:lnTo>
                    <a:pt x="70" y="222"/>
                  </a:lnTo>
                  <a:lnTo>
                    <a:pt x="70" y="222"/>
                  </a:lnTo>
                  <a:lnTo>
                    <a:pt x="64" y="208"/>
                  </a:lnTo>
                  <a:lnTo>
                    <a:pt x="64" y="208"/>
                  </a:lnTo>
                  <a:lnTo>
                    <a:pt x="64" y="206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2" y="208"/>
                  </a:lnTo>
                  <a:lnTo>
                    <a:pt x="112" y="208"/>
                  </a:lnTo>
                  <a:lnTo>
                    <a:pt x="108" y="218"/>
                  </a:lnTo>
                  <a:close/>
                  <a:moveTo>
                    <a:pt x="62" y="200"/>
                  </a:moveTo>
                  <a:lnTo>
                    <a:pt x="62" y="200"/>
                  </a:lnTo>
                  <a:lnTo>
                    <a:pt x="56" y="184"/>
                  </a:lnTo>
                  <a:lnTo>
                    <a:pt x="120" y="184"/>
                  </a:lnTo>
                  <a:lnTo>
                    <a:pt x="120" y="184"/>
                  </a:lnTo>
                  <a:lnTo>
                    <a:pt x="116" y="192"/>
                  </a:lnTo>
                  <a:lnTo>
                    <a:pt x="62" y="200"/>
                  </a:lnTo>
                  <a:close/>
                  <a:moveTo>
                    <a:pt x="88" y="240"/>
                  </a:moveTo>
                  <a:lnTo>
                    <a:pt x="88" y="240"/>
                  </a:lnTo>
                  <a:lnTo>
                    <a:pt x="82" y="240"/>
                  </a:lnTo>
                  <a:lnTo>
                    <a:pt x="78" y="238"/>
                  </a:lnTo>
                  <a:lnTo>
                    <a:pt x="76" y="236"/>
                  </a:lnTo>
                  <a:lnTo>
                    <a:pt x="72" y="230"/>
                  </a:lnTo>
                  <a:lnTo>
                    <a:pt x="106" y="226"/>
                  </a:lnTo>
                  <a:lnTo>
                    <a:pt x="106" y="226"/>
                  </a:lnTo>
                  <a:lnTo>
                    <a:pt x="102" y="234"/>
                  </a:lnTo>
                  <a:lnTo>
                    <a:pt x="98" y="238"/>
                  </a:lnTo>
                  <a:lnTo>
                    <a:pt x="94" y="240"/>
                  </a:lnTo>
                  <a:lnTo>
                    <a:pt x="88" y="240"/>
                  </a:lnTo>
                  <a:close/>
                  <a:moveTo>
                    <a:pt x="126" y="168"/>
                  </a:moveTo>
                  <a:lnTo>
                    <a:pt x="50" y="168"/>
                  </a:lnTo>
                  <a:lnTo>
                    <a:pt x="50" y="168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22" y="114"/>
                  </a:lnTo>
                  <a:lnTo>
                    <a:pt x="18" y="100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8" y="74"/>
                  </a:lnTo>
                  <a:lnTo>
                    <a:pt x="22" y="60"/>
                  </a:lnTo>
                  <a:lnTo>
                    <a:pt x="28" y="48"/>
                  </a:lnTo>
                  <a:lnTo>
                    <a:pt x="38" y="38"/>
                  </a:lnTo>
                  <a:lnTo>
                    <a:pt x="48" y="28"/>
                  </a:lnTo>
                  <a:lnTo>
                    <a:pt x="60" y="22"/>
                  </a:lnTo>
                  <a:lnTo>
                    <a:pt x="74" y="18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102" y="18"/>
                  </a:lnTo>
                  <a:lnTo>
                    <a:pt x="116" y="22"/>
                  </a:lnTo>
                  <a:lnTo>
                    <a:pt x="128" y="28"/>
                  </a:lnTo>
                  <a:lnTo>
                    <a:pt x="138" y="38"/>
                  </a:lnTo>
                  <a:lnTo>
                    <a:pt x="148" y="48"/>
                  </a:lnTo>
                  <a:lnTo>
                    <a:pt x="154" y="60"/>
                  </a:lnTo>
                  <a:lnTo>
                    <a:pt x="158" y="74"/>
                  </a:lnTo>
                  <a:lnTo>
                    <a:pt x="160" y="88"/>
                  </a:lnTo>
                  <a:lnTo>
                    <a:pt x="160" y="88"/>
                  </a:lnTo>
                  <a:lnTo>
                    <a:pt x="158" y="100"/>
                  </a:lnTo>
                  <a:lnTo>
                    <a:pt x="154" y="114"/>
                  </a:lnTo>
                  <a:lnTo>
                    <a:pt x="138" y="142"/>
                  </a:lnTo>
                  <a:lnTo>
                    <a:pt x="138" y="142"/>
                  </a:lnTo>
                  <a:lnTo>
                    <a:pt x="126" y="168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2" name="íšľíḍè"/>
            <p:cNvSpPr/>
            <p:nvPr/>
          </p:nvSpPr>
          <p:spPr bwMode="auto">
            <a:xfrm>
              <a:off x="4902200" y="2838450"/>
              <a:ext cx="82550" cy="8255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48" y="0"/>
                </a:cxn>
                <a:cxn ang="0">
                  <a:pos x="38" y="0"/>
                </a:cxn>
                <a:cxn ang="0">
                  <a:pos x="30" y="4"/>
                </a:cxn>
                <a:cxn ang="0">
                  <a:pos x="22" y="8"/>
                </a:cxn>
                <a:cxn ang="0">
                  <a:pos x="14" y="14"/>
                </a:cxn>
                <a:cxn ang="0">
                  <a:pos x="8" y="22"/>
                </a:cxn>
                <a:cxn ang="0">
                  <a:pos x="4" y="30"/>
                </a:cxn>
                <a:cxn ang="0">
                  <a:pos x="0" y="3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2" y="50"/>
                </a:cxn>
                <a:cxn ang="0">
                  <a:pos x="4" y="52"/>
                </a:cxn>
                <a:cxn ang="0">
                  <a:pos x="4" y="52"/>
                </a:cxn>
                <a:cxn ang="0">
                  <a:pos x="6" y="50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14" y="26"/>
                </a:cxn>
                <a:cxn ang="0">
                  <a:pos x="20" y="20"/>
                </a:cxn>
                <a:cxn ang="0">
                  <a:pos x="26" y="14"/>
                </a:cxn>
                <a:cxn ang="0">
                  <a:pos x="32" y="12"/>
                </a:cxn>
                <a:cxn ang="0">
                  <a:pos x="40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0" y="6"/>
                </a:cxn>
                <a:cxn ang="0">
                  <a:pos x="52" y="4"/>
                </a:cxn>
                <a:cxn ang="0">
                  <a:pos x="52" y="4"/>
                </a:cxn>
                <a:cxn ang="0">
                  <a:pos x="50" y="2"/>
                </a:cxn>
                <a:cxn ang="0">
                  <a:pos x="48" y="0"/>
                </a:cxn>
              </a:cxnLst>
              <a:rect l="0" t="0" r="r" b="b"/>
              <a:pathLst>
                <a:path w="52" h="52">
                  <a:moveTo>
                    <a:pt x="48" y="0"/>
                  </a:moveTo>
                  <a:lnTo>
                    <a:pt x="48" y="0"/>
                  </a:lnTo>
                  <a:lnTo>
                    <a:pt x="38" y="0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4" y="14"/>
                  </a:lnTo>
                  <a:lnTo>
                    <a:pt x="8" y="22"/>
                  </a:lnTo>
                  <a:lnTo>
                    <a:pt x="4" y="30"/>
                  </a:lnTo>
                  <a:lnTo>
                    <a:pt x="0" y="3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2" y="50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6" y="50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0"/>
                  </a:lnTo>
                  <a:lnTo>
                    <a:pt x="12" y="32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6" y="14"/>
                  </a:lnTo>
                  <a:lnTo>
                    <a:pt x="32" y="12"/>
                  </a:lnTo>
                  <a:lnTo>
                    <a:pt x="40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0" y="6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0" y="2"/>
                  </a:lnTo>
                  <a:lnTo>
                    <a:pt x="48" y="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3" name="íṣlîďê"/>
            <p:cNvSpPr/>
            <p:nvPr/>
          </p:nvSpPr>
          <p:spPr bwMode="auto">
            <a:xfrm>
              <a:off x="4902200" y="2838450"/>
              <a:ext cx="82550" cy="8255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48" y="0"/>
                </a:cxn>
                <a:cxn ang="0">
                  <a:pos x="38" y="0"/>
                </a:cxn>
                <a:cxn ang="0">
                  <a:pos x="30" y="4"/>
                </a:cxn>
                <a:cxn ang="0">
                  <a:pos x="22" y="8"/>
                </a:cxn>
                <a:cxn ang="0">
                  <a:pos x="14" y="14"/>
                </a:cxn>
                <a:cxn ang="0">
                  <a:pos x="8" y="22"/>
                </a:cxn>
                <a:cxn ang="0">
                  <a:pos x="4" y="30"/>
                </a:cxn>
                <a:cxn ang="0">
                  <a:pos x="0" y="3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2" y="50"/>
                </a:cxn>
                <a:cxn ang="0">
                  <a:pos x="4" y="52"/>
                </a:cxn>
                <a:cxn ang="0">
                  <a:pos x="4" y="52"/>
                </a:cxn>
                <a:cxn ang="0">
                  <a:pos x="6" y="50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14" y="26"/>
                </a:cxn>
                <a:cxn ang="0">
                  <a:pos x="20" y="20"/>
                </a:cxn>
                <a:cxn ang="0">
                  <a:pos x="26" y="14"/>
                </a:cxn>
                <a:cxn ang="0">
                  <a:pos x="32" y="12"/>
                </a:cxn>
                <a:cxn ang="0">
                  <a:pos x="40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0" y="6"/>
                </a:cxn>
                <a:cxn ang="0">
                  <a:pos x="52" y="4"/>
                </a:cxn>
                <a:cxn ang="0">
                  <a:pos x="52" y="4"/>
                </a:cxn>
                <a:cxn ang="0">
                  <a:pos x="50" y="2"/>
                </a:cxn>
                <a:cxn ang="0">
                  <a:pos x="48" y="0"/>
                </a:cxn>
              </a:cxnLst>
              <a:rect l="0" t="0" r="r" b="b"/>
              <a:pathLst>
                <a:path w="52" h="52">
                  <a:moveTo>
                    <a:pt x="48" y="0"/>
                  </a:moveTo>
                  <a:lnTo>
                    <a:pt x="48" y="0"/>
                  </a:lnTo>
                  <a:lnTo>
                    <a:pt x="38" y="0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4" y="14"/>
                  </a:lnTo>
                  <a:lnTo>
                    <a:pt x="8" y="22"/>
                  </a:lnTo>
                  <a:lnTo>
                    <a:pt x="4" y="30"/>
                  </a:lnTo>
                  <a:lnTo>
                    <a:pt x="0" y="3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2" y="50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6" y="50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0"/>
                  </a:lnTo>
                  <a:lnTo>
                    <a:pt x="12" y="32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6" y="14"/>
                  </a:lnTo>
                  <a:lnTo>
                    <a:pt x="32" y="12"/>
                  </a:lnTo>
                  <a:lnTo>
                    <a:pt x="40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0" y="6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0" y="2"/>
                  </a:lnTo>
                  <a:lnTo>
                    <a:pt x="48" y="0"/>
                  </a:lnTo>
                </a:path>
              </a:pathLst>
            </a:custGeom>
            <a:grpFill/>
            <a:ln w="9525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</p:grpSp>
      <p:sp>
        <p:nvSpPr>
          <p:cNvPr id="54" name="íṣḷíḓé"/>
          <p:cNvSpPr/>
          <p:nvPr/>
        </p:nvSpPr>
        <p:spPr bwMode="auto">
          <a:xfrm>
            <a:off x="10366375" y="2787015"/>
            <a:ext cx="370205" cy="370205"/>
          </a:xfrm>
          <a:custGeom>
            <a:avLst/>
            <a:gdLst/>
            <a:ahLst/>
            <a:cxnLst>
              <a:cxn ang="0">
                <a:pos x="252" y="2"/>
              </a:cxn>
              <a:cxn ang="0">
                <a:pos x="252" y="2"/>
              </a:cxn>
              <a:cxn ang="0">
                <a:pos x="248" y="0"/>
              </a:cxn>
              <a:cxn ang="0">
                <a:pos x="248" y="0"/>
              </a:cxn>
              <a:cxn ang="0">
                <a:pos x="244" y="2"/>
              </a:cxn>
              <a:cxn ang="0">
                <a:pos x="4" y="162"/>
              </a:cxn>
              <a:cxn ang="0">
                <a:pos x="4" y="162"/>
              </a:cxn>
              <a:cxn ang="0">
                <a:pos x="0" y="164"/>
              </a:cxn>
              <a:cxn ang="0">
                <a:pos x="0" y="168"/>
              </a:cxn>
              <a:cxn ang="0">
                <a:pos x="0" y="168"/>
              </a:cxn>
              <a:cxn ang="0">
                <a:pos x="2" y="172"/>
              </a:cxn>
              <a:cxn ang="0">
                <a:pos x="6" y="176"/>
              </a:cxn>
              <a:cxn ang="0">
                <a:pos x="68" y="200"/>
              </a:cxn>
              <a:cxn ang="0">
                <a:pos x="98" y="252"/>
              </a:cxn>
              <a:cxn ang="0">
                <a:pos x="98" y="252"/>
              </a:cxn>
              <a:cxn ang="0">
                <a:pos x="100" y="254"/>
              </a:cxn>
              <a:cxn ang="0">
                <a:pos x="104" y="256"/>
              </a:cxn>
              <a:cxn ang="0">
                <a:pos x="104" y="256"/>
              </a:cxn>
              <a:cxn ang="0">
                <a:pos x="104" y="256"/>
              </a:cxn>
              <a:cxn ang="0">
                <a:pos x="108" y="254"/>
              </a:cxn>
              <a:cxn ang="0">
                <a:pos x="110" y="252"/>
              </a:cxn>
              <a:cxn ang="0">
                <a:pos x="128" y="224"/>
              </a:cxn>
              <a:cxn ang="0">
                <a:pos x="206" y="256"/>
              </a:cxn>
              <a:cxn ang="0">
                <a:pos x="206" y="256"/>
              </a:cxn>
              <a:cxn ang="0">
                <a:pos x="208" y="256"/>
              </a:cxn>
              <a:cxn ang="0">
                <a:pos x="208" y="256"/>
              </a:cxn>
              <a:cxn ang="0">
                <a:pos x="212" y="254"/>
              </a:cxn>
              <a:cxn ang="0">
                <a:pos x="212" y="254"/>
              </a:cxn>
              <a:cxn ang="0">
                <a:pos x="214" y="252"/>
              </a:cxn>
              <a:cxn ang="0">
                <a:pos x="216" y="250"/>
              </a:cxn>
              <a:cxn ang="0">
                <a:pos x="256" y="10"/>
              </a:cxn>
              <a:cxn ang="0">
                <a:pos x="256" y="10"/>
              </a:cxn>
              <a:cxn ang="0">
                <a:pos x="256" y="4"/>
              </a:cxn>
              <a:cxn ang="0">
                <a:pos x="252" y="2"/>
              </a:cxn>
              <a:cxn ang="0">
                <a:pos x="26" y="166"/>
              </a:cxn>
              <a:cxn ang="0">
                <a:pos x="210" y="42"/>
              </a:cxn>
              <a:cxn ang="0">
                <a:pos x="76" y="186"/>
              </a:cxn>
              <a:cxn ang="0">
                <a:pos x="76" y="186"/>
              </a:cxn>
              <a:cxn ang="0">
                <a:pos x="74" y="186"/>
              </a:cxn>
              <a:cxn ang="0">
                <a:pos x="26" y="166"/>
              </a:cxn>
              <a:cxn ang="0">
                <a:pos x="82" y="192"/>
              </a:cxn>
              <a:cxn ang="0">
                <a:pos x="82" y="192"/>
              </a:cxn>
              <a:cxn ang="0">
                <a:pos x="82" y="192"/>
              </a:cxn>
              <a:cxn ang="0">
                <a:pos x="234" y="30"/>
              </a:cxn>
              <a:cxn ang="0">
                <a:pos x="104" y="232"/>
              </a:cxn>
              <a:cxn ang="0">
                <a:pos x="82" y="192"/>
              </a:cxn>
              <a:cxn ang="0">
                <a:pos x="202" y="236"/>
              </a:cxn>
              <a:cxn ang="0">
                <a:pos x="134" y="210"/>
              </a:cxn>
              <a:cxn ang="0">
                <a:pos x="134" y="210"/>
              </a:cxn>
              <a:cxn ang="0">
                <a:pos x="128" y="208"/>
              </a:cxn>
              <a:cxn ang="0">
                <a:pos x="234" y="46"/>
              </a:cxn>
              <a:cxn ang="0">
                <a:pos x="202" y="236"/>
              </a:cxn>
            </a:cxnLst>
            <a:rect l="0" t="0" r="r" b="b"/>
            <a:pathLst>
              <a:path w="256" h="256">
                <a:moveTo>
                  <a:pt x="252" y="2"/>
                </a:moveTo>
                <a:lnTo>
                  <a:pt x="252" y="2"/>
                </a:lnTo>
                <a:lnTo>
                  <a:pt x="248" y="0"/>
                </a:lnTo>
                <a:lnTo>
                  <a:pt x="248" y="0"/>
                </a:lnTo>
                <a:lnTo>
                  <a:pt x="244" y="2"/>
                </a:lnTo>
                <a:lnTo>
                  <a:pt x="4" y="162"/>
                </a:lnTo>
                <a:lnTo>
                  <a:pt x="4" y="162"/>
                </a:lnTo>
                <a:lnTo>
                  <a:pt x="0" y="164"/>
                </a:lnTo>
                <a:lnTo>
                  <a:pt x="0" y="168"/>
                </a:lnTo>
                <a:lnTo>
                  <a:pt x="0" y="168"/>
                </a:lnTo>
                <a:lnTo>
                  <a:pt x="2" y="172"/>
                </a:lnTo>
                <a:lnTo>
                  <a:pt x="6" y="176"/>
                </a:lnTo>
                <a:lnTo>
                  <a:pt x="68" y="200"/>
                </a:lnTo>
                <a:lnTo>
                  <a:pt x="98" y="252"/>
                </a:lnTo>
                <a:lnTo>
                  <a:pt x="98" y="252"/>
                </a:lnTo>
                <a:lnTo>
                  <a:pt x="100" y="254"/>
                </a:lnTo>
                <a:lnTo>
                  <a:pt x="104" y="256"/>
                </a:lnTo>
                <a:lnTo>
                  <a:pt x="104" y="256"/>
                </a:lnTo>
                <a:lnTo>
                  <a:pt x="104" y="256"/>
                </a:lnTo>
                <a:lnTo>
                  <a:pt x="108" y="254"/>
                </a:lnTo>
                <a:lnTo>
                  <a:pt x="110" y="252"/>
                </a:lnTo>
                <a:lnTo>
                  <a:pt x="128" y="224"/>
                </a:lnTo>
                <a:lnTo>
                  <a:pt x="206" y="256"/>
                </a:lnTo>
                <a:lnTo>
                  <a:pt x="206" y="256"/>
                </a:lnTo>
                <a:lnTo>
                  <a:pt x="208" y="256"/>
                </a:lnTo>
                <a:lnTo>
                  <a:pt x="208" y="256"/>
                </a:lnTo>
                <a:lnTo>
                  <a:pt x="212" y="254"/>
                </a:lnTo>
                <a:lnTo>
                  <a:pt x="212" y="254"/>
                </a:lnTo>
                <a:lnTo>
                  <a:pt x="214" y="252"/>
                </a:lnTo>
                <a:lnTo>
                  <a:pt x="216" y="250"/>
                </a:lnTo>
                <a:lnTo>
                  <a:pt x="256" y="10"/>
                </a:lnTo>
                <a:lnTo>
                  <a:pt x="256" y="10"/>
                </a:lnTo>
                <a:lnTo>
                  <a:pt x="256" y="4"/>
                </a:lnTo>
                <a:lnTo>
                  <a:pt x="252" y="2"/>
                </a:lnTo>
                <a:close/>
                <a:moveTo>
                  <a:pt x="26" y="166"/>
                </a:moveTo>
                <a:lnTo>
                  <a:pt x="210" y="42"/>
                </a:lnTo>
                <a:lnTo>
                  <a:pt x="76" y="186"/>
                </a:lnTo>
                <a:lnTo>
                  <a:pt x="76" y="186"/>
                </a:lnTo>
                <a:lnTo>
                  <a:pt x="74" y="186"/>
                </a:lnTo>
                <a:lnTo>
                  <a:pt x="26" y="166"/>
                </a:lnTo>
                <a:close/>
                <a:moveTo>
                  <a:pt x="82" y="192"/>
                </a:moveTo>
                <a:lnTo>
                  <a:pt x="82" y="192"/>
                </a:lnTo>
                <a:lnTo>
                  <a:pt x="82" y="192"/>
                </a:lnTo>
                <a:lnTo>
                  <a:pt x="234" y="30"/>
                </a:lnTo>
                <a:lnTo>
                  <a:pt x="104" y="232"/>
                </a:lnTo>
                <a:lnTo>
                  <a:pt x="82" y="192"/>
                </a:lnTo>
                <a:close/>
                <a:moveTo>
                  <a:pt x="202" y="236"/>
                </a:moveTo>
                <a:lnTo>
                  <a:pt x="134" y="210"/>
                </a:lnTo>
                <a:lnTo>
                  <a:pt x="134" y="210"/>
                </a:lnTo>
                <a:lnTo>
                  <a:pt x="128" y="208"/>
                </a:lnTo>
                <a:lnTo>
                  <a:pt x="234" y="46"/>
                </a:lnTo>
                <a:lnTo>
                  <a:pt x="202" y="236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</a:ln>
        </p:spPr>
        <p:txBody>
          <a:bodyPr anchor="ctr"/>
          <a:lstStyle/>
          <a:p>
            <a:pPr algn="ctr"/>
          </a:p>
        </p:txBody>
      </p:sp>
      <p:cxnSp>
        <p:nvCxnSpPr>
          <p:cNvPr id="36" name="直接连接符 35"/>
          <p:cNvCxnSpPr/>
          <p:nvPr/>
        </p:nvCxnSpPr>
        <p:spPr>
          <a:xfrm>
            <a:off x="2787015" y="1123950"/>
            <a:ext cx="0" cy="501967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/>
          <p:cNvCxnSpPr/>
          <p:nvPr/>
        </p:nvCxnSpPr>
        <p:spPr>
          <a:xfrm>
            <a:off x="5005070" y="1123950"/>
            <a:ext cx="0" cy="501967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/>
          <p:cNvCxnSpPr/>
          <p:nvPr/>
        </p:nvCxnSpPr>
        <p:spPr>
          <a:xfrm>
            <a:off x="7223760" y="1123950"/>
            <a:ext cx="0" cy="501967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/>
          <p:cNvCxnSpPr/>
          <p:nvPr/>
        </p:nvCxnSpPr>
        <p:spPr>
          <a:xfrm>
            <a:off x="9442450" y="1123950"/>
            <a:ext cx="0" cy="501967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组合 4"/>
          <p:cNvGrpSpPr/>
          <p:nvPr/>
        </p:nvGrpSpPr>
        <p:grpSpPr>
          <a:xfrm>
            <a:off x="479425" y="1877695"/>
            <a:ext cx="2306320" cy="3343275"/>
            <a:chOff x="755" y="2957"/>
            <a:chExt cx="3632" cy="5265"/>
          </a:xfrm>
        </p:grpSpPr>
        <p:grpSp>
          <p:nvGrpSpPr>
            <p:cNvPr id="56" name="íṡlíḓe"/>
            <p:cNvGrpSpPr/>
            <p:nvPr/>
          </p:nvGrpSpPr>
          <p:grpSpPr>
            <a:xfrm rot="0">
              <a:off x="953" y="6676"/>
              <a:ext cx="3435" cy="1546"/>
              <a:chOff x="1148901" y="2960948"/>
              <a:chExt cx="2205077" cy="981450"/>
            </a:xfrm>
          </p:grpSpPr>
          <p:sp>
            <p:nvSpPr>
              <p:cNvPr id="69" name="isļíḓé"/>
              <p:cNvSpPr txBox="1"/>
              <p:nvPr/>
            </p:nvSpPr>
            <p:spPr>
              <a:xfrm>
                <a:off x="1601301" y="2960948"/>
                <a:ext cx="1300278" cy="340519"/>
              </a:xfrm>
              <a:prstGeom prst="roundRect">
                <a:avLst/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wrap="none">
                <a:normAutofit fontScale="90000"/>
              </a:bodyPr>
              <a:lstStyle/>
              <a:p>
                <a:pPr algn="ctr"/>
                <a:r>
                  <a:rPr lang="zh-CN" altLang="en-US" sz="1400" dirty="0">
                    <a:solidFill>
                      <a:schemeClr val="bg2"/>
                    </a:solidFill>
                  </a:rPr>
                  <a:t>机器人厨师</a:t>
                </a:r>
                <a:endParaRPr lang="zh-CN" altLang="en-US" sz="14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70" name="ïsļíḓê"/>
              <p:cNvSpPr txBox="1"/>
              <p:nvPr/>
            </p:nvSpPr>
            <p:spPr bwMode="auto">
              <a:xfrm>
                <a:off x="1148901" y="3368168"/>
                <a:ext cx="2205077" cy="574230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wrap="square" lIns="90000" tIns="46800" rIns="90000" bIns="46800" anchor="ctr" anchorCtr="1">
                <a:normAutofit/>
                <a:scene3d>
                  <a:camera prst="orthographicFront"/>
                  <a:lightRig rig="threePt" dir="t"/>
                </a:scene3d>
                <a:sp3d>
                  <a:bevelT w="0" h="0"/>
                </a:sp3d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zh-CN" altLang="en-US" sz="1000" dirty="0"/>
                  <a:t>改变</a:t>
                </a:r>
                <a:r>
                  <a:rPr lang="zh-CN" altLang="en-US" sz="1000" dirty="0"/>
                  <a:t>餐饮行业后厨管理方式</a:t>
                </a:r>
                <a:endParaRPr lang="zh-CN" altLang="en-US" sz="1000" dirty="0"/>
              </a:p>
            </p:txBody>
          </p:sp>
        </p:grpSp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755" y="2957"/>
              <a:ext cx="3481" cy="3437"/>
            </a:xfrm>
            <a:prstGeom prst="rect">
              <a:avLst/>
            </a:prstGeom>
          </p:spPr>
        </p:pic>
      </p:grpSp>
      <p:grpSp>
        <p:nvGrpSpPr>
          <p:cNvPr id="11" name="组合 10"/>
          <p:cNvGrpSpPr/>
          <p:nvPr/>
        </p:nvGrpSpPr>
        <p:grpSpPr>
          <a:xfrm>
            <a:off x="5005070" y="2131695"/>
            <a:ext cx="2181225" cy="3254375"/>
            <a:chOff x="7882" y="3357"/>
            <a:chExt cx="3435" cy="5125"/>
          </a:xfrm>
        </p:grpSpPr>
        <p:grpSp>
          <p:nvGrpSpPr>
            <p:cNvPr id="58" name="îṥ1íḍé"/>
            <p:cNvGrpSpPr/>
            <p:nvPr/>
          </p:nvGrpSpPr>
          <p:grpSpPr>
            <a:xfrm rot="0">
              <a:off x="7882" y="6676"/>
              <a:ext cx="3435" cy="1806"/>
              <a:chOff x="3497670" y="2960948"/>
              <a:chExt cx="2204941" cy="1146810"/>
            </a:xfrm>
          </p:grpSpPr>
          <p:sp>
            <p:nvSpPr>
              <p:cNvPr id="65" name="î$ļîďè"/>
              <p:cNvSpPr txBox="1"/>
              <p:nvPr/>
            </p:nvSpPr>
            <p:spPr>
              <a:xfrm>
                <a:off x="3950069" y="2960948"/>
                <a:ext cx="1300278" cy="340519"/>
              </a:xfrm>
              <a:prstGeom prst="roundRect">
                <a:avLst/>
              </a:prstGeom>
              <a:solidFill>
                <a:schemeClr val="accent3"/>
              </a:solidFill>
            </p:spPr>
            <p:txBody>
              <a:bodyPr wrap="none">
                <a:normAutofit fontScale="90000"/>
              </a:bodyPr>
              <a:lstStyle/>
              <a:p>
                <a:pPr algn="ctr"/>
                <a:r>
                  <a:rPr lang="zh-CN" altLang="en-US" sz="1400" dirty="0">
                    <a:solidFill>
                      <a:schemeClr val="bg2"/>
                    </a:solidFill>
                  </a:rPr>
                  <a:t>新型美食研究</a:t>
                </a:r>
                <a:endParaRPr lang="zh-CN" altLang="en-US" sz="14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6" name="iṣľîḓé"/>
              <p:cNvSpPr txBox="1"/>
              <p:nvPr/>
            </p:nvSpPr>
            <p:spPr bwMode="auto">
              <a:xfrm>
                <a:off x="3497670" y="3367983"/>
                <a:ext cx="2204941" cy="739775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wrap="square" lIns="90000" tIns="46800" rIns="90000" bIns="46800" anchor="ctr" anchorCtr="1">
                <a:normAutofit/>
                <a:scene3d>
                  <a:camera prst="orthographicFront"/>
                  <a:lightRig rig="threePt" dir="t"/>
                </a:scene3d>
                <a:sp3d>
                  <a:bevelT w="0" h="0"/>
                </a:sp3d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000" dirty="0"/>
                  <a:t> </a:t>
                </a:r>
                <a:r>
                  <a:rPr lang="zh-CN" altLang="en-US" sz="1000" dirty="0"/>
                  <a:t>人工智能创意菜谱</a:t>
                </a:r>
                <a:endParaRPr lang="zh-CN" altLang="en-US" sz="1000" dirty="0"/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1000" dirty="0"/>
                  <a:t>人类菜系菜单</a:t>
                </a:r>
                <a:r>
                  <a:rPr lang="zh-CN" altLang="en-US" sz="1000" dirty="0"/>
                  <a:t>指数增长</a:t>
                </a:r>
                <a:endParaRPr lang="zh-CN" altLang="en-US" sz="1000" dirty="0"/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1000" dirty="0"/>
                  <a:t>素食菜品研究</a:t>
                </a:r>
                <a:endParaRPr lang="zh-CN" altLang="en-US" sz="1000" dirty="0"/>
              </a:p>
            </p:txBody>
          </p:sp>
        </p:grpSp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899" y="3357"/>
              <a:ext cx="3418" cy="2951"/>
            </a:xfrm>
            <a:prstGeom prst="rect">
              <a:avLst/>
            </a:prstGeom>
          </p:spPr>
        </p:pic>
      </p:grpSp>
      <p:grpSp>
        <p:nvGrpSpPr>
          <p:cNvPr id="14" name="组合 13"/>
          <p:cNvGrpSpPr/>
          <p:nvPr/>
        </p:nvGrpSpPr>
        <p:grpSpPr>
          <a:xfrm>
            <a:off x="7204710" y="2211070"/>
            <a:ext cx="2199005" cy="3009900"/>
            <a:chOff x="11346" y="3482"/>
            <a:chExt cx="3463" cy="4740"/>
          </a:xfrm>
        </p:grpSpPr>
        <p:grpSp>
          <p:nvGrpSpPr>
            <p:cNvPr id="59" name="í$1îḓé"/>
            <p:cNvGrpSpPr/>
            <p:nvPr/>
          </p:nvGrpSpPr>
          <p:grpSpPr>
            <a:xfrm rot="0">
              <a:off x="11346" y="6676"/>
              <a:ext cx="3435" cy="1546"/>
              <a:chOff x="3497672" y="2960948"/>
              <a:chExt cx="2205078" cy="981450"/>
            </a:xfrm>
          </p:grpSpPr>
          <p:sp>
            <p:nvSpPr>
              <p:cNvPr id="63" name="iS1ïḍè"/>
              <p:cNvSpPr txBox="1"/>
              <p:nvPr/>
            </p:nvSpPr>
            <p:spPr>
              <a:xfrm>
                <a:off x="3950069" y="2960948"/>
                <a:ext cx="1300278" cy="340519"/>
              </a:xfrm>
              <a:prstGeom prst="roundRect">
                <a:avLst/>
              </a:prstGeom>
              <a:solidFill>
                <a:schemeClr val="accent4"/>
              </a:solidFill>
            </p:spPr>
            <p:txBody>
              <a:bodyPr wrap="none">
                <a:normAutofit fontScale="90000"/>
              </a:bodyPr>
              <a:lstStyle/>
              <a:p>
                <a:pPr algn="ctr"/>
                <a:r>
                  <a:rPr lang="zh-CN" altLang="en-US" sz="1400" dirty="0">
                    <a:solidFill>
                      <a:schemeClr val="bg2"/>
                    </a:solidFill>
                  </a:rPr>
                  <a:t>家庭厨房教练</a:t>
                </a:r>
                <a:endParaRPr lang="zh-CN" altLang="en-US" sz="14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4" name="ïSḷiḓè"/>
              <p:cNvSpPr txBox="1"/>
              <p:nvPr/>
            </p:nvSpPr>
            <p:spPr bwMode="auto">
              <a:xfrm>
                <a:off x="3497672" y="3368168"/>
                <a:ext cx="2205078" cy="574230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wrap="square" lIns="90000" tIns="46800" rIns="90000" bIns="46800" anchor="ctr" anchorCtr="1">
                <a:normAutofit/>
                <a:scene3d>
                  <a:camera prst="orthographicFront"/>
                  <a:lightRig rig="threePt" dir="t"/>
                </a:scene3d>
                <a:sp3d>
                  <a:bevelT w="0" h="0"/>
                </a:sp3d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zh-CN" altLang="en-US" sz="1000" dirty="0"/>
                  <a:t>全程语音视频指导</a:t>
                </a:r>
                <a:endParaRPr lang="zh-CN" altLang="en-US" sz="1000" dirty="0"/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1000" dirty="0"/>
                  <a:t>家庭健康方案制定</a:t>
                </a:r>
                <a:endParaRPr lang="zh-CN" altLang="en-US" sz="1000" dirty="0"/>
              </a:p>
            </p:txBody>
          </p:sp>
        </p:grpSp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471" y="3482"/>
              <a:ext cx="3339" cy="2440"/>
            </a:xfrm>
            <a:prstGeom prst="rect">
              <a:avLst/>
            </a:prstGeom>
          </p:spPr>
        </p:pic>
      </p:grpSp>
      <p:grpSp>
        <p:nvGrpSpPr>
          <p:cNvPr id="17" name="组合 16"/>
          <p:cNvGrpSpPr/>
          <p:nvPr/>
        </p:nvGrpSpPr>
        <p:grpSpPr>
          <a:xfrm>
            <a:off x="9404985" y="2131695"/>
            <a:ext cx="2334895" cy="3089275"/>
            <a:chOff x="14811" y="3357"/>
            <a:chExt cx="3677" cy="4865"/>
          </a:xfrm>
        </p:grpSpPr>
        <p:grpSp>
          <p:nvGrpSpPr>
            <p:cNvPr id="60" name="iṧḻíḓè"/>
            <p:cNvGrpSpPr/>
            <p:nvPr/>
          </p:nvGrpSpPr>
          <p:grpSpPr>
            <a:xfrm rot="0">
              <a:off x="14811" y="6676"/>
              <a:ext cx="3435" cy="1546"/>
              <a:chOff x="3497671" y="2960948"/>
              <a:chExt cx="2205078" cy="981450"/>
            </a:xfrm>
          </p:grpSpPr>
          <p:sp>
            <p:nvSpPr>
              <p:cNvPr id="61" name="í$ḻîḓê"/>
              <p:cNvSpPr txBox="1"/>
              <p:nvPr/>
            </p:nvSpPr>
            <p:spPr>
              <a:xfrm>
                <a:off x="3950069" y="2960948"/>
                <a:ext cx="1300278" cy="340519"/>
              </a:xfrm>
              <a:prstGeom prst="roundRect">
                <a:avLst/>
              </a:prstGeom>
              <a:solidFill>
                <a:schemeClr val="accent5"/>
              </a:solidFill>
            </p:spPr>
            <p:txBody>
              <a:bodyPr wrap="none">
                <a:normAutofit fontScale="90000"/>
              </a:bodyPr>
              <a:lstStyle/>
              <a:p>
                <a:pPr algn="ctr"/>
                <a:r>
                  <a:rPr lang="zh-CN" altLang="en-US" sz="1400" dirty="0">
                    <a:solidFill>
                      <a:schemeClr val="bg2"/>
                    </a:solidFill>
                  </a:rPr>
                  <a:t>智能冰箱产业链</a:t>
                </a:r>
                <a:endParaRPr lang="zh-CN" altLang="en-US" sz="14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2" name="i$ľïďé"/>
              <p:cNvSpPr txBox="1"/>
              <p:nvPr/>
            </p:nvSpPr>
            <p:spPr bwMode="auto">
              <a:xfrm>
                <a:off x="3497671" y="3368168"/>
                <a:ext cx="2205078" cy="574230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wrap="square" lIns="90000" tIns="46800" rIns="90000" bIns="46800" anchor="ctr" anchorCtr="1">
                <a:normAutofit lnSpcReduction="20000"/>
                <a:scene3d>
                  <a:camera prst="orthographicFront"/>
                  <a:lightRig rig="threePt" dir="t"/>
                </a:scene3d>
                <a:sp3d>
                  <a:bevelT w="0" h="0"/>
                </a:sp3d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zh-CN" altLang="en-US" sz="1000" dirty="0"/>
                  <a:t>家庭菜单一键智能规划</a:t>
                </a:r>
                <a:endParaRPr lang="zh-CN" altLang="en-US" sz="1000" dirty="0"/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1000" dirty="0"/>
                  <a:t>智能硬件：监控冰箱内食材新鲜度区块链：全球食材供应链追溯</a:t>
                </a:r>
                <a:endParaRPr lang="zh-CN" altLang="en-US" sz="1000" dirty="0"/>
              </a:p>
            </p:txBody>
          </p:sp>
        </p:grpSp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038" y="3357"/>
              <a:ext cx="3450" cy="2521"/>
            </a:xfrm>
            <a:prstGeom prst="rect">
              <a:avLst/>
            </a:prstGeom>
          </p:spPr>
        </p:pic>
      </p:grpSp>
      <p:grpSp>
        <p:nvGrpSpPr>
          <p:cNvPr id="6" name="组合 5"/>
          <p:cNvGrpSpPr/>
          <p:nvPr/>
        </p:nvGrpSpPr>
        <p:grpSpPr>
          <a:xfrm>
            <a:off x="2689860" y="1781810"/>
            <a:ext cx="2381250" cy="3845560"/>
            <a:chOff x="4236" y="2806"/>
            <a:chExt cx="3750" cy="6056"/>
          </a:xfrm>
        </p:grpSpPr>
        <p:grpSp>
          <p:nvGrpSpPr>
            <p:cNvPr id="57" name="iṥ1îḓé"/>
            <p:cNvGrpSpPr/>
            <p:nvPr/>
          </p:nvGrpSpPr>
          <p:grpSpPr>
            <a:xfrm rot="0">
              <a:off x="4236" y="6676"/>
              <a:ext cx="3750" cy="2187"/>
              <a:chOff x="3381486" y="2960948"/>
              <a:chExt cx="2407141" cy="1388745"/>
            </a:xfrm>
          </p:grpSpPr>
          <p:sp>
            <p:nvSpPr>
              <p:cNvPr id="67" name="ïṥľíḓe"/>
              <p:cNvSpPr txBox="1"/>
              <p:nvPr/>
            </p:nvSpPr>
            <p:spPr>
              <a:xfrm>
                <a:off x="3954562" y="2960948"/>
                <a:ext cx="1300278" cy="340519"/>
              </a:xfrm>
              <a:prstGeom prst="roundRect">
                <a:avLst/>
              </a:prstGeom>
              <a:solidFill>
                <a:schemeClr val="accent2"/>
              </a:solidFill>
            </p:spPr>
            <p:txBody>
              <a:bodyPr wrap="none">
                <a:normAutofit fontScale="90000"/>
              </a:bodyPr>
              <a:lstStyle/>
              <a:p>
                <a:pPr algn="ctr"/>
                <a:r>
                  <a:rPr lang="zh-CN" altLang="en-US" sz="1400" dirty="0">
                    <a:solidFill>
                      <a:schemeClr val="bg2"/>
                    </a:solidFill>
                  </a:rPr>
                  <a:t>人工智能营养师</a:t>
                </a:r>
                <a:endParaRPr lang="zh-CN" altLang="en-US" sz="14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8" name="îšlïḓê"/>
              <p:cNvSpPr txBox="1"/>
              <p:nvPr/>
            </p:nvSpPr>
            <p:spPr bwMode="auto">
              <a:xfrm>
                <a:off x="3381486" y="3367983"/>
                <a:ext cx="2407141" cy="981710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wrap="square" lIns="90000" tIns="46800" rIns="90000" bIns="46800" anchor="ctr" anchorCtr="1">
                <a:normAutofit/>
                <a:scene3d>
                  <a:camera prst="orthographicFront"/>
                  <a:lightRig rig="threePt" dir="t"/>
                </a:scene3d>
                <a:sp3d>
                  <a:bevelT w="0" h="0"/>
                </a:sp3d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zh-CN" altLang="en-US" sz="1000" dirty="0"/>
                  <a:t>大数据</a:t>
                </a:r>
                <a:r>
                  <a:rPr lang="zh-CN" altLang="en-US" sz="1000" dirty="0"/>
                  <a:t>食谱推荐</a:t>
                </a:r>
                <a:r>
                  <a:rPr lang="en-US" altLang="zh-CN" sz="1000" dirty="0"/>
                  <a:t>/</a:t>
                </a:r>
                <a:r>
                  <a:rPr lang="zh-CN" altLang="en-US" sz="1000" dirty="0"/>
                  <a:t>用户习惯学习</a:t>
                </a:r>
                <a:endParaRPr lang="zh-CN" altLang="en-US" sz="1000" dirty="0"/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1000" dirty="0"/>
                  <a:t>图像识别：食材识别和热量计算</a:t>
                </a:r>
                <a:endParaRPr lang="zh-CN" altLang="en-US" sz="1000" dirty="0"/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1000" dirty="0">
                    <a:sym typeface="+mn-ea"/>
                  </a:rPr>
                  <a:t>智能方案：</a:t>
                </a:r>
                <a:r>
                  <a:rPr lang="zh-CN" altLang="en-US" sz="1000" dirty="0"/>
                  <a:t>精准医学</a:t>
                </a:r>
                <a:r>
                  <a:rPr lang="en-US" altLang="zh-CN" sz="1000" dirty="0"/>
                  <a:t>&amp;</a:t>
                </a:r>
                <a:r>
                  <a:rPr lang="zh-CN" altLang="en-US" sz="1000" dirty="0"/>
                  <a:t>大数据血糖管理</a:t>
                </a:r>
                <a:endParaRPr lang="zh-CN" altLang="en-US" sz="1000" dirty="0"/>
              </a:p>
            </p:txBody>
          </p:sp>
        </p:grpSp>
        <p:pic>
          <p:nvPicPr>
            <p:cNvPr id="12" name="图片 11" descr="u=2573491240,864877257&amp;fm=15&amp;gp=0[1]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516" y="4555"/>
              <a:ext cx="3059" cy="1886"/>
            </a:xfrm>
            <a:prstGeom prst="rect">
              <a:avLst/>
            </a:prstGeom>
          </p:spPr>
        </p:pic>
        <p:pic>
          <p:nvPicPr>
            <p:cNvPr id="13" name="图片 1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27" y="2806"/>
              <a:ext cx="2894" cy="1812"/>
            </a:xfrm>
            <a:prstGeom prst="rect">
              <a:avLst/>
            </a:prstGeom>
          </p:spPr>
        </p:pic>
      </p:grpSp>
      <p:sp>
        <p:nvSpPr>
          <p:cNvPr id="16" name="页脚占位符 15"/>
          <p:cNvSpPr>
            <a:spLocks noGrp="1"/>
          </p:cNvSpPr>
          <p:nvPr>
            <p:ph type="ftr" sz="quarter" idx="11"/>
          </p:nvPr>
        </p:nvSpPr>
        <p:spPr>
          <a:xfrm>
            <a:off x="5857875" y="6275070"/>
            <a:ext cx="652780" cy="206375"/>
          </a:xfrm>
        </p:spPr>
        <p:txBody>
          <a:bodyPr/>
          <a:p>
            <a:r>
              <a:rPr lang="en-US" altLang="zh-CN" baseline="30000" dirty="0">
                <a:sym typeface="+mn-ea"/>
              </a:rPr>
              <a:t>mealprep®</a:t>
            </a:r>
            <a:r>
              <a:rPr lang="en-US" altLang="zh-CN" dirty="0">
                <a:sym typeface="+mn-ea"/>
              </a:rPr>
              <a:t> </a:t>
            </a:r>
            <a:endParaRPr lang="zh-CN" altLang="en-US" dirty="0"/>
          </a:p>
        </p:txBody>
      </p:sp>
    </p:spTree>
  </p:cSld>
  <p:clrMapOvr>
    <a:masterClrMapping/>
  </p:clrMapOvr>
  <p:transition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" fill="hold"/>
                                        <p:tgtEl>
                                          <p:spTgt spid="16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</p:cBhvr>
                                      <p:by x="150000" y="150000"/>
                                      <p:from x="150000" y="15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  <p:from x="150000" y="15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50000" y="150000"/>
                                      <p:from x="150000" y="15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0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50000" y="150000"/>
                                      <p:from x="150000" y="15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4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</p:cBhvr>
                                      <p:by x="150000" y="150000"/>
                                      <p:from x="150000" y="15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0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150000" y="150000"/>
                                      <p:from x="150000" y="15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6" grpId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857875" y="6275070"/>
            <a:ext cx="652780" cy="206375"/>
          </a:xfrm>
        </p:spPr>
        <p:txBody>
          <a:bodyPr/>
          <a:lstStyle/>
          <a:p>
            <a:r>
              <a:rPr lang="en-US" altLang="zh-CN" baseline="30000" dirty="0">
                <a:sym typeface="+mn-ea"/>
              </a:rPr>
              <a:t>mealprep®</a:t>
            </a:r>
            <a:r>
              <a:rPr lang="en-US" altLang="zh-CN" dirty="0">
                <a:sym typeface="+mn-ea"/>
              </a:rPr>
              <a:t> </a:t>
            </a:r>
            <a:endParaRPr lang="zh-CN" altLang="en-US" dirty="0"/>
          </a:p>
        </p:txBody>
      </p:sp>
      <p:cxnSp>
        <p:nvCxnSpPr>
          <p:cNvPr id="19" name="Straight Connector 3"/>
          <p:cNvCxnSpPr/>
          <p:nvPr>
            <p:custDataLst>
              <p:tags r:id="rId1"/>
            </p:custDataLst>
          </p:nvPr>
        </p:nvCxnSpPr>
        <p:spPr>
          <a:xfrm>
            <a:off x="4788786" y="0"/>
            <a:ext cx="0" cy="2692400"/>
          </a:xfrm>
          <a:prstGeom prst="line">
            <a:avLst/>
          </a:prstGeom>
          <a:ln w="38100">
            <a:solidFill>
              <a:sysClr val="window" lastClr="FFFFFF">
                <a:lumMod val="85000"/>
              </a:sysClr>
            </a:solidFill>
          </a:ln>
        </p:spPr>
        <p:style>
          <a:lnRef idx="1">
            <a:srgbClr val="1F74AD"/>
          </a:lnRef>
          <a:fillRef idx="0">
            <a:srgbClr val="1F74AD"/>
          </a:fillRef>
          <a:effectRef idx="0">
            <a:srgbClr val="1F74AD"/>
          </a:effectRef>
          <a:fontRef idx="minor">
            <a:srgbClr val="000000"/>
          </a:fontRef>
        </p:style>
      </p:cxnSp>
      <p:cxnSp>
        <p:nvCxnSpPr>
          <p:cNvPr id="20" name="Straight Connector 16"/>
          <p:cNvCxnSpPr/>
          <p:nvPr>
            <p:custDataLst>
              <p:tags r:id="rId2"/>
            </p:custDataLst>
          </p:nvPr>
        </p:nvCxnSpPr>
        <p:spPr>
          <a:xfrm flipH="1">
            <a:off x="5581650" y="3429000"/>
            <a:ext cx="6610351" cy="23954"/>
          </a:xfrm>
          <a:prstGeom prst="line">
            <a:avLst/>
          </a:prstGeom>
          <a:ln w="38100">
            <a:solidFill>
              <a:sysClr val="window" lastClr="FFFFFF">
                <a:lumMod val="85000"/>
              </a:sysClr>
            </a:solidFill>
          </a:ln>
        </p:spPr>
        <p:style>
          <a:lnRef idx="1">
            <a:srgbClr val="1F74AD"/>
          </a:lnRef>
          <a:fillRef idx="0">
            <a:srgbClr val="1F74AD"/>
          </a:fillRef>
          <a:effectRef idx="0">
            <a:srgbClr val="1F74AD"/>
          </a:effectRef>
          <a:fontRef idx="minor">
            <a:srgbClr val="000000"/>
          </a:fontRef>
        </p:style>
      </p:cxnSp>
      <p:cxnSp>
        <p:nvCxnSpPr>
          <p:cNvPr id="21" name="Straight Connector 19"/>
          <p:cNvCxnSpPr/>
          <p:nvPr>
            <p:custDataLst>
              <p:tags r:id="rId3"/>
            </p:custDataLst>
          </p:nvPr>
        </p:nvCxnSpPr>
        <p:spPr>
          <a:xfrm flipH="1" flipV="1">
            <a:off x="4788787" y="2692400"/>
            <a:ext cx="792863" cy="760554"/>
          </a:xfrm>
          <a:prstGeom prst="line">
            <a:avLst/>
          </a:prstGeom>
          <a:ln w="38100">
            <a:solidFill>
              <a:sysClr val="window" lastClr="FFFFFF">
                <a:lumMod val="85000"/>
              </a:sysClr>
            </a:solidFill>
          </a:ln>
        </p:spPr>
        <p:style>
          <a:lnRef idx="1">
            <a:srgbClr val="1F74AD"/>
          </a:lnRef>
          <a:fillRef idx="0">
            <a:srgbClr val="1F74AD"/>
          </a:fillRef>
          <a:effectRef idx="0">
            <a:srgbClr val="1F74AD"/>
          </a:effectRef>
          <a:fontRef idx="minor">
            <a:srgbClr val="000000"/>
          </a:fontRef>
        </p:style>
      </p:cxnSp>
      <p:sp>
        <p:nvSpPr>
          <p:cNvPr id="22" name="Title 1"/>
          <p:cNvSpPr txBox="1"/>
          <p:nvPr>
            <p:custDataLst>
              <p:tags r:id="rId4"/>
            </p:custDataLst>
          </p:nvPr>
        </p:nvSpPr>
        <p:spPr>
          <a:xfrm>
            <a:off x="2766237" y="216308"/>
            <a:ext cx="1785966" cy="546817"/>
          </a:xfrm>
          <a:prstGeom prst="rect">
            <a:avLst/>
          </a:prstGeom>
        </p:spPr>
        <p:txBody>
          <a:bodyPr wrap="square" tIns="46800" anchor="ctr" anchorCtr="0">
            <a:normAutofit fontScale="6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ysClr val="window" lastClr="FFFFFF">
                    <a:lumMod val="50000"/>
                  </a:sysClr>
                </a:solidFill>
                <a:latin typeface="Neris Thin" panose="00000300000000000000" pitchFamily="50" charset="0"/>
                <a:ea typeface="Gulim" panose="020B0600000101010101" pitchFamily="34" charset="-127"/>
                <a:cs typeface="+mn-ea"/>
              </a:defRPr>
            </a:lvl1pPr>
          </a:lstStyle>
          <a:p>
            <a:pPr algn="r">
              <a:lnSpc>
                <a:spcPct val="120000"/>
              </a:lnSpc>
            </a:pPr>
            <a:r>
              <a:rPr lang="zh-CN" altLang="en-US" sz="3600" spc="-3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人工智能</a:t>
            </a:r>
            <a:endParaRPr lang="zh-CN" altLang="en-US" sz="3600" spc="-300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Oval 28"/>
          <p:cNvSpPr/>
          <p:nvPr>
            <p:custDataLst>
              <p:tags r:id="rId5"/>
            </p:custDataLst>
          </p:nvPr>
        </p:nvSpPr>
        <p:spPr>
          <a:xfrm>
            <a:off x="4696711" y="424547"/>
            <a:ext cx="184150" cy="18415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threePt" dir="t"/>
            </a:scene3d>
          </a:bodyPr>
          <a:lstStyle/>
          <a:p>
            <a:pPr algn="ctr"/>
            <a:endParaRPr lang="id-ID">
              <a:solidFill>
                <a:srgbClr val="1A9173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2" name="Title 1"/>
          <p:cNvSpPr txBox="1"/>
          <p:nvPr>
            <p:custDataLst>
              <p:tags r:id="rId6"/>
            </p:custDataLst>
          </p:nvPr>
        </p:nvSpPr>
        <p:spPr>
          <a:xfrm>
            <a:off x="5063490" y="424815"/>
            <a:ext cx="3752850" cy="320040"/>
          </a:xfrm>
          <a:prstGeom prst="rect">
            <a:avLst/>
          </a:prstGeom>
        </p:spPr>
        <p:txBody>
          <a:bodyPr wrap="square" tIns="46800" bIns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ysClr val="window" lastClr="FFFFFF">
                    <a:lumMod val="50000"/>
                  </a:sysClr>
                </a:solidFill>
                <a:latin typeface="Neris Thin" panose="00000300000000000000" pitchFamily="50" charset="0"/>
                <a:ea typeface="Gulim" panose="020B0600000101010101" pitchFamily="34" charset="-127"/>
                <a:cs typeface="+mn-ea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b="1" i="1" spc="300">
                <a:solidFill>
                  <a:srgbClr val="1A917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谁先占领</a:t>
            </a:r>
            <a:r>
              <a:rPr lang="en-US" altLang="zh-CN" sz="1600" b="1" i="1" spc="300">
                <a:solidFill>
                  <a:srgbClr val="1A917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600" b="1" i="1" spc="300">
                <a:solidFill>
                  <a:srgbClr val="1A917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的饮食快消市场？</a:t>
            </a:r>
            <a:endParaRPr lang="zh-CN" altLang="en-US" sz="1600" b="1" i="1" spc="300">
              <a:solidFill>
                <a:srgbClr val="1A917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" name="Oval 37"/>
          <p:cNvSpPr/>
          <p:nvPr>
            <p:custDataLst>
              <p:tags r:id="rId7"/>
            </p:custDataLst>
          </p:nvPr>
        </p:nvSpPr>
        <p:spPr>
          <a:xfrm>
            <a:off x="6518277" y="3336925"/>
            <a:ext cx="184150" cy="18415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u="sng">
              <a:solidFill>
                <a:srgbClr val="1A917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Title 1"/>
          <p:cNvSpPr txBox="1"/>
          <p:nvPr>
            <p:custDataLst>
              <p:tags r:id="rId8"/>
            </p:custDataLst>
          </p:nvPr>
        </p:nvSpPr>
        <p:spPr>
          <a:xfrm>
            <a:off x="5696445" y="3838931"/>
            <a:ext cx="1785966" cy="546817"/>
          </a:xfrm>
          <a:prstGeom prst="rect">
            <a:avLst/>
          </a:prstGeom>
        </p:spPr>
        <p:txBody>
          <a:bodyPr wrap="square" tIns="46800" anchor="ctr" anchorCtr="0">
            <a:normAutofit fontScale="6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ysClr val="window" lastClr="FFFFFF">
                    <a:lumMod val="50000"/>
                  </a:sysClr>
                </a:solidFill>
                <a:latin typeface="Neris Thin" panose="00000300000000000000" pitchFamily="50" charset="0"/>
                <a:ea typeface="Gulim" panose="020B0600000101010101" pitchFamily="34" charset="-127"/>
                <a:cs typeface="+mn-ea"/>
              </a:defRPr>
            </a:lvl1pPr>
          </a:lstStyle>
          <a:p>
            <a:pPr algn="ctr">
              <a:lnSpc>
                <a:spcPct val="120000"/>
              </a:lnSpc>
            </a:pPr>
            <a:r>
              <a:rPr lang="zh-CN" altLang="en-US" sz="3600" spc="-3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癌症年轻化</a:t>
            </a:r>
            <a:endParaRPr lang="zh-CN" altLang="en-US" sz="3600" spc="-30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1" name="TextBox 41"/>
          <p:cNvSpPr txBox="1"/>
          <p:nvPr>
            <p:custDataLst>
              <p:tags r:id="rId9"/>
            </p:custDataLst>
          </p:nvPr>
        </p:nvSpPr>
        <p:spPr>
          <a:xfrm>
            <a:off x="4880895" y="5491497"/>
            <a:ext cx="3292707" cy="601077"/>
          </a:xfrm>
          <a:prstGeom prst="rect">
            <a:avLst/>
          </a:prstGeom>
          <a:noFill/>
        </p:spPr>
        <p:txBody>
          <a:bodyPr wrap="square" tIns="0" bIns="46800" rtlCol="0">
            <a:normAutofit/>
          </a:bodyPr>
          <a:lstStyle/>
          <a:p>
            <a:pPr algn="ctr">
              <a:lnSpc>
                <a:spcPct val="120000"/>
              </a:lnSpc>
              <a:buClrTx/>
              <a:buSzTx/>
              <a:buFontTx/>
            </a:pPr>
            <a:r>
              <a:rPr lang="zh-CN" altLang="en-US" sz="1200" dirty="0">
                <a:sym typeface="+mn-ea"/>
              </a:rPr>
              <a:t>中国人一生有</a:t>
            </a:r>
            <a:r>
              <a:rPr lang="en-US" altLang="zh-CN" sz="1200" dirty="0">
                <a:sym typeface="+mn-ea"/>
              </a:rPr>
              <a:t>22</a:t>
            </a:r>
            <a:r>
              <a:rPr lang="zh-CN" altLang="en-US" sz="1200" dirty="0">
                <a:sym typeface="+mn-ea"/>
              </a:rPr>
              <a:t>%的患癌机率。</a:t>
            </a:r>
            <a:endParaRPr lang="zh-CN" altLang="en-US" sz="1200" dirty="0">
              <a:sym typeface="+mn-ea"/>
            </a:endParaRPr>
          </a:p>
          <a:p>
            <a:pPr algn="ctr">
              <a:lnSpc>
                <a:spcPct val="120000"/>
              </a:lnSpc>
              <a:buClrTx/>
              <a:buSzTx/>
              <a:buFontTx/>
            </a:pPr>
            <a:r>
              <a:rPr lang="zh-CN" altLang="en-US" sz="1200" dirty="0">
                <a:sym typeface="+mn-ea"/>
              </a:rPr>
              <a:t>不注重吃早餐的人寿命平均缩短2.5岁。</a:t>
            </a:r>
            <a:endParaRPr lang="zh-CN" altLang="en-US" sz="1200" dirty="0"/>
          </a:p>
          <a:p>
            <a:pPr algn="ctr">
              <a:lnSpc>
                <a:spcPct val="120000"/>
              </a:lnSpc>
              <a:buClrTx/>
              <a:buSzTx/>
              <a:buFontTx/>
            </a:pPr>
            <a:endParaRPr lang="zh-CN" altLang="en-US" sz="1200" dirty="0">
              <a:sym typeface="+mn-ea"/>
            </a:endParaRPr>
          </a:p>
          <a:p>
            <a:pPr indent="0" algn="ctr">
              <a:lnSpc>
                <a:spcPct val="150000"/>
              </a:lnSpc>
              <a:buFont typeface="Arial" panose="020B0604020202020204" pitchFamily="34" charset="0"/>
              <a:buNone/>
            </a:pPr>
            <a:endParaRPr lang="zh-CN" altLang="en-US" sz="1200" spc="150">
              <a:solidFill>
                <a:sysClr val="window" lastClr="FFFFFF">
                  <a:lumMod val="5000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6" name="Title 1"/>
          <p:cNvSpPr txBox="1"/>
          <p:nvPr>
            <p:custDataLst>
              <p:tags r:id="rId10"/>
            </p:custDataLst>
          </p:nvPr>
        </p:nvSpPr>
        <p:spPr>
          <a:xfrm>
            <a:off x="4924707" y="4805040"/>
            <a:ext cx="3292708" cy="321368"/>
          </a:xfrm>
          <a:prstGeom prst="rect">
            <a:avLst/>
          </a:prstGeom>
        </p:spPr>
        <p:txBody>
          <a:bodyPr wrap="square" bIns="0" anchor="b" anchorCtr="0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ysClr val="window" lastClr="FFFFFF">
                    <a:lumMod val="50000"/>
                  </a:sysClr>
                </a:solidFill>
                <a:latin typeface="Neris Thin" panose="00000300000000000000" pitchFamily="50" charset="0"/>
                <a:ea typeface="Gulim" panose="020B0600000101010101" pitchFamily="34" charset="-127"/>
                <a:cs typeface="+mn-ea"/>
              </a:defRPr>
            </a:lvl1pPr>
          </a:lstStyle>
          <a:p>
            <a:pPr algn="ctr">
              <a:lnSpc>
                <a:spcPct val="120000"/>
              </a:lnSpc>
            </a:pPr>
            <a:r>
              <a:rPr lang="zh-CN" altLang="en-US" sz="1600" b="1" i="1" spc="30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食疗可以</a:t>
            </a:r>
            <a:r>
              <a:rPr lang="en-US" altLang="zh-CN" sz="1600" b="1" i="1" spc="30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1600" b="1" i="1" spc="30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未病</a:t>
            </a:r>
            <a:r>
              <a:rPr lang="en-US" altLang="zh-CN" sz="1600" b="1" i="1" spc="30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endParaRPr lang="en-US" altLang="zh-CN" sz="1600" b="1" i="1" spc="300">
              <a:solidFill>
                <a:srgbClr val="000000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7" name="Title 1"/>
          <p:cNvSpPr txBox="1"/>
          <p:nvPr>
            <p:custDataLst>
              <p:tags r:id="rId11"/>
            </p:custDataLst>
          </p:nvPr>
        </p:nvSpPr>
        <p:spPr>
          <a:xfrm>
            <a:off x="4924425" y="5168265"/>
            <a:ext cx="3536950" cy="292100"/>
          </a:xfrm>
          <a:prstGeom prst="rect">
            <a:avLst/>
          </a:prstGeom>
        </p:spPr>
        <p:txBody>
          <a:bodyPr wrap="square" tIns="46800" bIns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ysClr val="window" lastClr="FFFFFF">
                    <a:lumMod val="50000"/>
                  </a:sysClr>
                </a:solidFill>
                <a:latin typeface="Neris Thin" panose="00000300000000000000" pitchFamily="50" charset="0"/>
                <a:ea typeface="Gulim" panose="020B0600000101010101" pitchFamily="34" charset="-127"/>
                <a:cs typeface="+mn-ea"/>
              </a:defRPr>
            </a:lvl1pPr>
          </a:lstStyle>
          <a:p>
            <a:pPr algn="ctr">
              <a:lnSpc>
                <a:spcPct val="120000"/>
              </a:lnSpc>
              <a:buClrTx/>
              <a:buSzTx/>
              <a:buFontTx/>
            </a:pPr>
            <a:r>
              <a:rPr lang="zh-CN" altLang="en-US" sz="1600" b="1" i="1" spc="300">
                <a:solidFill>
                  <a:srgbClr val="1F74A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忽视饮食是癌症年轻化的原因</a:t>
            </a:r>
            <a:endParaRPr lang="zh-CN" altLang="en-US" sz="1600" b="1" i="1" spc="300">
              <a:solidFill>
                <a:srgbClr val="1F74AD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92" name="Oval 28"/>
          <p:cNvSpPr/>
          <p:nvPr>
            <p:custDataLst>
              <p:tags r:id="rId12"/>
            </p:custDataLst>
          </p:nvPr>
        </p:nvSpPr>
        <p:spPr>
          <a:xfrm>
            <a:off x="4696710" y="1845710"/>
            <a:ext cx="184150" cy="18415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threePt" dir="t"/>
            </a:scene3d>
          </a:bodyPr>
          <a:lstStyle/>
          <a:p>
            <a:pPr algn="ctr"/>
            <a:endParaRPr lang="id-ID">
              <a:solidFill>
                <a:srgbClr val="1A9173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8" name="Oval 37"/>
          <p:cNvSpPr/>
          <p:nvPr>
            <p:custDataLst>
              <p:tags r:id="rId13"/>
            </p:custDataLst>
          </p:nvPr>
        </p:nvSpPr>
        <p:spPr>
          <a:xfrm>
            <a:off x="10258894" y="3336925"/>
            <a:ext cx="184150" cy="18415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9" name="Title 1"/>
          <p:cNvSpPr txBox="1"/>
          <p:nvPr>
            <p:custDataLst>
              <p:tags r:id="rId14"/>
            </p:custDataLst>
          </p:nvPr>
        </p:nvSpPr>
        <p:spPr>
          <a:xfrm>
            <a:off x="9457986" y="3838931"/>
            <a:ext cx="1785966" cy="546817"/>
          </a:xfrm>
          <a:prstGeom prst="rect">
            <a:avLst/>
          </a:prstGeom>
        </p:spPr>
        <p:txBody>
          <a:bodyPr wrap="square" tIns="46800" anchor="ctr" anchorCtr="0">
            <a:normAutofit fontScale="6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ysClr val="window" lastClr="FFFFFF">
                    <a:lumMod val="50000"/>
                  </a:sysClr>
                </a:solidFill>
                <a:latin typeface="Neris Thin" panose="00000300000000000000" pitchFamily="50" charset="0"/>
                <a:ea typeface="Gulim" panose="020B0600000101010101" pitchFamily="34" charset="-127"/>
                <a:cs typeface="+mn-ea"/>
              </a:defRPr>
            </a:lvl1pPr>
          </a:lstStyle>
          <a:p>
            <a:pPr algn="ctr">
              <a:lnSpc>
                <a:spcPct val="120000"/>
              </a:lnSpc>
            </a:pPr>
            <a:r>
              <a:rPr lang="zh-CN" altLang="en-US" sz="3600" spc="-3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生活品质</a:t>
            </a:r>
            <a:r>
              <a:rPr lang="en-US" altLang="zh-CN" sz="3600" spc="-3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endParaRPr lang="en-US" altLang="zh-CN" sz="3600" spc="-300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1" name="TextBox 41"/>
          <p:cNvSpPr txBox="1"/>
          <p:nvPr>
            <p:custDataLst>
              <p:tags r:id="rId15"/>
            </p:custDataLst>
          </p:nvPr>
        </p:nvSpPr>
        <p:spPr>
          <a:xfrm>
            <a:off x="8716239" y="5491497"/>
            <a:ext cx="3292707" cy="601077"/>
          </a:xfrm>
          <a:prstGeom prst="rect">
            <a:avLst/>
          </a:prstGeom>
          <a:noFill/>
        </p:spPr>
        <p:txBody>
          <a:bodyPr wrap="square" tIns="0" bIns="46800" rtlCol="0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200" dirty="0">
                <a:sym typeface="+mn-ea"/>
              </a:rPr>
              <a:t>厨房教练为年轻人简化做饭过程，</a:t>
            </a:r>
            <a:endParaRPr lang="zh-CN" altLang="en-US" sz="1200" dirty="0">
              <a:sym typeface="+mn-ea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200" dirty="0">
                <a:sym typeface="+mn-ea"/>
              </a:rPr>
              <a:t>降低厨艺学习成本。</a:t>
            </a:r>
            <a:endParaRPr lang="zh-CN" altLang="en-US" sz="1200" spc="150">
              <a:solidFill>
                <a:sysClr val="window" lastClr="FFFFFF">
                  <a:lumMod val="5000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2" name="Title 1"/>
          <p:cNvSpPr txBox="1"/>
          <p:nvPr>
            <p:custDataLst>
              <p:tags r:id="rId16"/>
            </p:custDataLst>
          </p:nvPr>
        </p:nvSpPr>
        <p:spPr>
          <a:xfrm>
            <a:off x="8716236" y="4805040"/>
            <a:ext cx="3292708" cy="321368"/>
          </a:xfrm>
          <a:prstGeom prst="rect">
            <a:avLst/>
          </a:prstGeom>
        </p:spPr>
        <p:txBody>
          <a:bodyPr wrap="square" bIns="0"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ysClr val="window" lastClr="FFFFFF">
                    <a:lumMod val="50000"/>
                  </a:sysClr>
                </a:solidFill>
                <a:latin typeface="Neris Thin" panose="00000300000000000000" pitchFamily="50" charset="0"/>
                <a:ea typeface="Gulim" panose="020B0600000101010101" pitchFamily="34" charset="-127"/>
                <a:cs typeface="+mn-ea"/>
              </a:defRPr>
            </a:lvl1pPr>
          </a:lstStyle>
          <a:p>
            <a:pPr algn="ctr">
              <a:lnSpc>
                <a:spcPct val="120000"/>
              </a:lnSpc>
            </a:pPr>
            <a:r>
              <a:rPr lang="zh-CN" altLang="en-US" sz="1600" b="1" i="1" spc="30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一代非常重视生活品质</a:t>
            </a:r>
            <a:endParaRPr lang="zh-CN" altLang="en-US" sz="1600" b="1" i="1" spc="300">
              <a:solidFill>
                <a:srgbClr val="000000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3" name="Title 1"/>
          <p:cNvSpPr txBox="1"/>
          <p:nvPr>
            <p:custDataLst>
              <p:tags r:id="rId17"/>
            </p:custDataLst>
          </p:nvPr>
        </p:nvSpPr>
        <p:spPr>
          <a:xfrm>
            <a:off x="8317865" y="5168265"/>
            <a:ext cx="3874770" cy="292100"/>
          </a:xfrm>
          <a:prstGeom prst="rect">
            <a:avLst/>
          </a:prstGeom>
        </p:spPr>
        <p:txBody>
          <a:bodyPr wrap="square" tIns="46800" bIns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ysClr val="window" lastClr="FFFFFF">
                    <a:lumMod val="50000"/>
                  </a:sysClr>
                </a:solidFill>
                <a:latin typeface="Neris Thin" panose="00000300000000000000" pitchFamily="50" charset="0"/>
                <a:ea typeface="Gulim" panose="020B0600000101010101" pitchFamily="34" charset="-127"/>
                <a:cs typeface="+mn-ea"/>
              </a:defRPr>
            </a:lvl1pPr>
          </a:lstStyle>
          <a:p>
            <a:pPr algn="ctr">
              <a:lnSpc>
                <a:spcPct val="120000"/>
              </a:lnSpc>
            </a:pPr>
            <a:r>
              <a:rPr lang="zh-CN" altLang="en-US" sz="1600" b="1" i="1" spc="300">
                <a:solidFill>
                  <a:srgbClr val="1F74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轻人需要私人营养师</a:t>
            </a:r>
            <a:r>
              <a:rPr lang="en-US" altLang="zh-CN" sz="1600" b="1" i="1" spc="300">
                <a:solidFill>
                  <a:srgbClr val="1F74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600" b="1" i="1" spc="300">
                <a:solidFill>
                  <a:srgbClr val="1F74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厨房教练</a:t>
            </a:r>
            <a:endParaRPr lang="zh-CN" altLang="en-US" sz="1600" b="1" i="1" spc="300">
              <a:solidFill>
                <a:srgbClr val="1F74A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2444750" y="438785"/>
            <a:ext cx="9361170" cy="2259330"/>
            <a:chOff x="3850" y="691"/>
            <a:chExt cx="14742" cy="3558"/>
          </a:xfrm>
        </p:grpSpPr>
        <p:sp>
          <p:nvSpPr>
            <p:cNvPr id="88" name="Title 1"/>
            <p:cNvSpPr txBox="1"/>
            <p:nvPr>
              <p:custDataLst>
                <p:tags r:id="rId18"/>
              </p:custDataLst>
            </p:nvPr>
          </p:nvSpPr>
          <p:spPr>
            <a:xfrm>
              <a:off x="4356" y="2579"/>
              <a:ext cx="2813" cy="861"/>
            </a:xfrm>
            <a:prstGeom prst="rect">
              <a:avLst/>
            </a:prstGeom>
          </p:spPr>
          <p:txBody>
            <a:bodyPr wrap="square" tIns="46800" anchor="ctr" anchorCtr="0">
              <a:normAutofit fontScale="67500" lnSpcReduction="2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0" i="0" kern="1200">
                  <a:solidFill>
                    <a:sysClr val="window" lastClr="FFFFFF">
                      <a:lumMod val="50000"/>
                    </a:sysClr>
                  </a:solidFill>
                  <a:latin typeface="Neris Thin" panose="00000300000000000000" pitchFamily="50" charset="0"/>
                  <a:ea typeface="Gulim" panose="020B0600000101010101" pitchFamily="34" charset="-127"/>
                  <a:cs typeface="+mn-ea"/>
                </a:defRPr>
              </a:lvl1pPr>
            </a:lstStyle>
            <a:p>
              <a:pPr algn="r">
                <a:lnSpc>
                  <a:spcPct val="120000"/>
                </a:lnSpc>
              </a:pPr>
              <a:r>
                <a:rPr lang="zh-CN" altLang="en-US" sz="3600" spc="-300" dirty="0"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轻食跑马圈地</a:t>
              </a:r>
              <a:endParaRPr lang="zh-CN" altLang="en-US" sz="3600" spc="-3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3" name="TextBox 29"/>
            <p:cNvSpPr txBox="1"/>
            <p:nvPr>
              <p:custDataLst>
                <p:tags r:id="rId19"/>
              </p:custDataLst>
            </p:nvPr>
          </p:nvSpPr>
          <p:spPr>
            <a:xfrm>
              <a:off x="7974" y="3461"/>
              <a:ext cx="5910" cy="788"/>
            </a:xfrm>
            <a:prstGeom prst="rect">
              <a:avLst/>
            </a:prstGeom>
            <a:noFill/>
          </p:spPr>
          <p:txBody>
            <a:bodyPr wrap="square" tIns="0" bIns="46800" rtlCol="0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200" dirty="0">
                  <a:sym typeface="+mn-ea"/>
                </a:rPr>
                <a:t>“</a:t>
              </a:r>
              <a:r>
                <a:rPr lang="zh-CN" altLang="en-US" sz="1200" dirty="0">
                  <a:sym typeface="+mn-ea"/>
                </a:rPr>
                <a:t>中国风</a:t>
              </a:r>
              <a:r>
                <a:rPr lang="en-US" altLang="zh-CN" sz="1200" dirty="0">
                  <a:sym typeface="+mn-ea"/>
                </a:rPr>
                <a:t>” </a:t>
              </a:r>
              <a:r>
                <a:rPr lang="zh-CN" altLang="en-US" sz="1200" dirty="0">
                  <a:sym typeface="+mn-ea"/>
                </a:rPr>
                <a:t>轻食成为网红爆款。</a:t>
              </a:r>
              <a:endParaRPr lang="zh-CN" altLang="en-US" sz="1200" dirty="0">
                <a:sym typeface="+mn-ea"/>
              </a:endParaRPr>
            </a:p>
            <a:p>
              <a:pPr algn="ctr">
                <a:lnSpc>
                  <a:spcPct val="120000"/>
                </a:lnSpc>
              </a:pPr>
              <a:r>
                <a:rPr lang="en-US" altLang="zh-CN" sz="1200" dirty="0">
                  <a:sym typeface="+mn-ea"/>
                </a:rPr>
                <a:t>”</a:t>
              </a:r>
              <a:r>
                <a:rPr lang="zh-CN" altLang="en-US" sz="1200" dirty="0">
                  <a:sym typeface="+mn-ea"/>
                </a:rPr>
                <a:t>健康食疗</a:t>
              </a:r>
              <a:r>
                <a:rPr lang="en-US" altLang="zh-CN" sz="1200" dirty="0">
                  <a:sym typeface="+mn-ea"/>
                </a:rPr>
                <a:t>“ </a:t>
              </a:r>
              <a:r>
                <a:rPr lang="zh-CN" altLang="en-US" sz="1200" dirty="0">
                  <a:sym typeface="+mn-ea"/>
                </a:rPr>
                <a:t>细分市场无人切入。</a:t>
              </a:r>
              <a:endParaRPr lang="zh-CN" altLang="en-US" sz="1200" dirty="0"/>
            </a:p>
            <a:p>
              <a:pPr algn="ctr">
                <a:lnSpc>
                  <a:spcPct val="120000"/>
                </a:lnSpc>
              </a:pPr>
              <a:endParaRPr lang="zh-CN" altLang="en-US" sz="1200" spc="150">
                <a:solidFill>
                  <a:sysClr val="window" lastClr="FFFFFF">
                    <a:lumMod val="50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4" name="Title 1"/>
            <p:cNvSpPr txBox="1"/>
            <p:nvPr>
              <p:custDataLst>
                <p:tags r:id="rId20"/>
              </p:custDataLst>
            </p:nvPr>
          </p:nvSpPr>
          <p:spPr>
            <a:xfrm>
              <a:off x="7974" y="2379"/>
              <a:ext cx="5910" cy="506"/>
            </a:xfrm>
            <a:prstGeom prst="rect">
              <a:avLst/>
            </a:prstGeom>
          </p:spPr>
          <p:txBody>
            <a:bodyPr wrap="square" bIns="0" anchor="b" anchorCtr="0">
              <a:normAutofit fontScale="9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0" i="0" kern="1200">
                  <a:solidFill>
                    <a:sysClr val="window" lastClr="FFFFFF">
                      <a:lumMod val="50000"/>
                    </a:sysClr>
                  </a:solidFill>
                  <a:latin typeface="Neris Thin" panose="00000300000000000000" pitchFamily="50" charset="0"/>
                  <a:ea typeface="Gulim" panose="020B0600000101010101" pitchFamily="34" charset="-127"/>
                  <a:cs typeface="+mn-ea"/>
                </a:defRPr>
              </a:lvl1pPr>
            </a:lstStyle>
            <a:p>
              <a:pPr algn="l">
                <a:lnSpc>
                  <a:spcPct val="120000"/>
                </a:lnSpc>
                <a:buClrTx/>
                <a:buSzTx/>
                <a:buFontTx/>
              </a:pPr>
              <a:r>
                <a:rPr lang="zh-CN" altLang="en-US" sz="1600" b="1" i="1" spc="300">
                  <a:solidFill>
                    <a:srgbClr val="000000">
                      <a:lumMod val="65000"/>
                      <a:lumOff val="3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ea"/>
                </a:rPr>
                <a:t>轻食/茶饮 成为新的快消增量</a:t>
              </a:r>
              <a:endParaRPr lang="zh-CN" altLang="en-US" sz="1600" b="1" i="1" spc="30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endParaRPr>
            </a:p>
          </p:txBody>
        </p:sp>
        <p:sp>
          <p:nvSpPr>
            <p:cNvPr id="97" name="Title 1"/>
            <p:cNvSpPr txBox="1"/>
            <p:nvPr>
              <p:custDataLst>
                <p:tags r:id="rId21"/>
              </p:custDataLst>
            </p:nvPr>
          </p:nvSpPr>
          <p:spPr>
            <a:xfrm>
              <a:off x="7974" y="2951"/>
              <a:ext cx="10618" cy="460"/>
            </a:xfrm>
            <a:prstGeom prst="rect">
              <a:avLst/>
            </a:prstGeom>
          </p:spPr>
          <p:txBody>
            <a:bodyPr wrap="square" bIns="0" anchor="b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0" i="0" kern="1200">
                  <a:solidFill>
                    <a:sysClr val="window" lastClr="FFFFFF">
                      <a:lumMod val="50000"/>
                    </a:sysClr>
                  </a:solidFill>
                  <a:latin typeface="Neris Thin" panose="00000300000000000000" pitchFamily="50" charset="0"/>
                  <a:ea typeface="Gulim" panose="020B0600000101010101" pitchFamily="34" charset="-127"/>
                  <a:cs typeface="+mn-ea"/>
                </a:defRPr>
              </a:lvl1pPr>
            </a:lstStyle>
            <a:p>
              <a:pPr algn="l">
                <a:lnSpc>
                  <a:spcPct val="120000"/>
                </a:lnSpc>
                <a:buClrTx/>
                <a:buSzTx/>
                <a:buFontTx/>
              </a:pPr>
              <a:r>
                <a:rPr lang="zh-CN" altLang="en-US" sz="1600" b="1" i="1" spc="300">
                  <a:solidFill>
                    <a:srgbClr val="1F74A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ea"/>
                </a:rPr>
                <a:t>千亿级市场处于跑马圈地阶段</a:t>
              </a:r>
              <a:endParaRPr lang="zh-CN" altLang="en-US" sz="1600" b="1" i="1" spc="300">
                <a:solidFill>
                  <a:srgbClr val="1F74A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endParaRPr>
            </a:p>
          </p:txBody>
        </p:sp>
        <p:sp>
          <p:nvSpPr>
            <p:cNvPr id="104" name="文本框 103"/>
            <p:cNvSpPr txBox="1"/>
            <p:nvPr/>
          </p:nvSpPr>
          <p:spPr>
            <a:xfrm>
              <a:off x="3850" y="691"/>
              <a:ext cx="711" cy="1888"/>
            </a:xfrm>
            <a:prstGeom prst="rect">
              <a:avLst/>
            </a:prstGeom>
            <a:effectLst>
              <a:softEdge rad="127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p>
              <a:r>
                <a:rPr lang="zh-CN" altLang="en-US">
                  <a:solidFill>
                    <a:schemeClr val="bg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时代浪潮</a:t>
              </a:r>
              <a:endParaRPr lang="zh-CN" altLang="en-US"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</p:grpSp>
      <p:sp>
        <p:nvSpPr>
          <p:cNvPr id="110" name="文本框 109"/>
          <p:cNvSpPr txBox="1"/>
          <p:nvPr/>
        </p:nvSpPr>
        <p:spPr>
          <a:xfrm>
            <a:off x="7929880" y="3910330"/>
            <a:ext cx="1203325" cy="368300"/>
          </a:xfrm>
          <a:prstGeom prst="rect">
            <a:avLst/>
          </a:prstGeom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p>
            <a:r>
              <a:rPr lang="zh-CN" altLang="en-US"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年代刚需</a:t>
            </a:r>
            <a:endParaRPr lang="zh-CN" altLang="en-US">
              <a:solidFill>
                <a:schemeClr val="bg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" name="Title 1"/>
          <p:cNvSpPr txBox="1"/>
          <p:nvPr>
            <p:custDataLst>
              <p:tags r:id="rId22"/>
            </p:custDataLst>
          </p:nvPr>
        </p:nvSpPr>
        <p:spPr>
          <a:xfrm>
            <a:off x="9447191" y="3838931"/>
            <a:ext cx="1785966" cy="546817"/>
          </a:xfrm>
          <a:prstGeom prst="rect">
            <a:avLst/>
          </a:prstGeom>
        </p:spPr>
        <p:txBody>
          <a:bodyPr wrap="square" tIns="46800" anchor="ctr" anchorCtr="0">
            <a:normAutofit fontScale="6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ysClr val="window" lastClr="FFFFFF">
                    <a:lumMod val="50000"/>
                  </a:sysClr>
                </a:solidFill>
                <a:latin typeface="Neris Thin" panose="00000300000000000000" pitchFamily="50" charset="0"/>
                <a:ea typeface="Gulim" panose="020B0600000101010101" pitchFamily="34" charset="-127"/>
                <a:cs typeface="+mn-ea"/>
              </a:defRPr>
            </a:lvl1pPr>
          </a:lstStyle>
          <a:p>
            <a:pPr algn="ctr">
              <a:lnSpc>
                <a:spcPct val="120000"/>
              </a:lnSpc>
            </a:pPr>
            <a:r>
              <a:rPr lang="zh-CN" altLang="en-US" sz="3600" spc="-3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生活品质</a:t>
            </a:r>
            <a:r>
              <a:rPr lang="en-US" altLang="zh-CN" sz="3600" spc="-3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endParaRPr lang="en-US" altLang="zh-CN" sz="3600" spc="-300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919085" y="3910330"/>
            <a:ext cx="1203325" cy="368300"/>
          </a:xfrm>
          <a:prstGeom prst="rect">
            <a:avLst/>
          </a:prstGeom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p>
            <a:r>
              <a:rPr lang="zh-CN" altLang="en-US"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年代刚需</a:t>
            </a:r>
            <a:endParaRPr lang="zh-CN" altLang="en-US">
              <a:solidFill>
                <a:schemeClr val="bg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2766695" y="89535"/>
            <a:ext cx="6050280" cy="673100"/>
            <a:chOff x="4357" y="141"/>
            <a:chExt cx="9528" cy="1060"/>
          </a:xfrm>
        </p:grpSpPr>
        <p:sp>
          <p:nvSpPr>
            <p:cNvPr id="71" name="Title 1"/>
            <p:cNvSpPr txBox="1"/>
            <p:nvPr>
              <p:custDataLst>
                <p:tags r:id="rId23"/>
              </p:custDataLst>
            </p:nvPr>
          </p:nvSpPr>
          <p:spPr>
            <a:xfrm>
              <a:off x="7974" y="141"/>
              <a:ext cx="5910" cy="506"/>
            </a:xfrm>
            <a:prstGeom prst="rect">
              <a:avLst/>
            </a:prstGeom>
          </p:spPr>
          <p:txBody>
            <a:bodyPr wrap="square" bIns="0" anchor="b" anchorCtr="0">
              <a:normAutofit fontScale="9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0" i="0" kern="1200">
                  <a:solidFill>
                    <a:sysClr val="window" lastClr="FFFFFF">
                      <a:lumMod val="50000"/>
                    </a:sysClr>
                  </a:solidFill>
                  <a:latin typeface="Neris Thin" panose="00000300000000000000" pitchFamily="50" charset="0"/>
                  <a:ea typeface="Gulim" panose="020B0600000101010101" pitchFamily="34" charset="-127"/>
                  <a:cs typeface="+mn-ea"/>
                </a:defRPr>
              </a:lvl1pPr>
            </a:lstStyle>
            <a:p>
              <a:pPr>
                <a:lnSpc>
                  <a:spcPct val="120000"/>
                </a:lnSpc>
              </a:pPr>
              <a:r>
                <a:rPr lang="zh-CN" altLang="en-US" sz="1600" b="1" i="1" spc="300">
                  <a:solidFill>
                    <a:srgbClr val="000000">
                      <a:lumMod val="65000"/>
                      <a:lumOff val="3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人工智能必然重塑餐饮行业</a:t>
              </a:r>
              <a:endParaRPr lang="zh-CN" altLang="en-US" sz="1600" b="1" i="1" spc="30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Title 1"/>
            <p:cNvSpPr txBox="1"/>
            <p:nvPr>
              <p:custDataLst>
                <p:tags r:id="rId24"/>
              </p:custDataLst>
            </p:nvPr>
          </p:nvSpPr>
          <p:spPr>
            <a:xfrm>
              <a:off x="4357" y="341"/>
              <a:ext cx="2813" cy="861"/>
            </a:xfrm>
            <a:prstGeom prst="rect">
              <a:avLst/>
            </a:prstGeom>
          </p:spPr>
          <p:txBody>
            <a:bodyPr wrap="square" tIns="46800" anchor="ctr" anchorCtr="0">
              <a:normAutofit fontScale="67500" lnSpcReduction="2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0" i="0" kern="1200">
                  <a:solidFill>
                    <a:sysClr val="window" lastClr="FFFFFF">
                      <a:lumMod val="50000"/>
                    </a:sysClr>
                  </a:solidFill>
                  <a:latin typeface="Neris Thin" panose="00000300000000000000" pitchFamily="50" charset="0"/>
                  <a:ea typeface="Gulim" panose="020B0600000101010101" pitchFamily="34" charset="-127"/>
                  <a:cs typeface="+mn-ea"/>
                </a:defRPr>
              </a:lvl1pPr>
            </a:lstStyle>
            <a:p>
              <a:pPr algn="r">
                <a:lnSpc>
                  <a:spcPct val="120000"/>
                </a:lnSpc>
              </a:pPr>
              <a:r>
                <a:rPr lang="zh-CN" altLang="en-US" sz="3600" spc="-300" dirty="0"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人工智能</a:t>
              </a:r>
              <a:endParaRPr lang="zh-CN" altLang="en-US" sz="3600" spc="-3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Title 1"/>
            <p:cNvSpPr txBox="1"/>
            <p:nvPr>
              <p:custDataLst>
                <p:tags r:id="rId25"/>
              </p:custDataLst>
            </p:nvPr>
          </p:nvSpPr>
          <p:spPr>
            <a:xfrm>
              <a:off x="7975" y="669"/>
              <a:ext cx="5910" cy="504"/>
            </a:xfrm>
            <a:prstGeom prst="rect">
              <a:avLst/>
            </a:prstGeom>
          </p:spPr>
          <p:txBody>
            <a:bodyPr wrap="square" tIns="46800" bIns="0" anchor="b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0" i="0" kern="1200">
                  <a:solidFill>
                    <a:sysClr val="window" lastClr="FFFFFF">
                      <a:lumMod val="50000"/>
                    </a:sysClr>
                  </a:solidFill>
                  <a:latin typeface="Neris Thin" panose="00000300000000000000" pitchFamily="50" charset="0"/>
                  <a:ea typeface="Gulim" panose="020B0600000101010101" pitchFamily="34" charset="-127"/>
                  <a:cs typeface="+mn-ea"/>
                </a:defRPr>
              </a:lvl1pPr>
            </a:lstStyle>
            <a:p>
              <a:pPr>
                <a:lnSpc>
                  <a:spcPct val="120000"/>
                </a:lnSpc>
              </a:pPr>
              <a:r>
                <a:rPr lang="zh-CN" altLang="en-US" sz="1600" b="1" i="1" spc="300">
                  <a:solidFill>
                    <a:srgbClr val="1A917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谁先占领</a:t>
              </a:r>
              <a:r>
                <a:rPr lang="en-US" altLang="zh-CN" sz="1600" b="1" i="1" spc="300">
                  <a:solidFill>
                    <a:srgbClr val="1A917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I</a:t>
              </a:r>
              <a:r>
                <a:rPr lang="zh-CN" altLang="en-US" sz="1600" b="1" i="1" spc="300">
                  <a:solidFill>
                    <a:srgbClr val="1A917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下的饮食快消市场？</a:t>
              </a:r>
              <a:endParaRPr lang="zh-CN" altLang="en-US" sz="1600" b="1" i="1" spc="300">
                <a:solidFill>
                  <a:srgbClr val="1A9173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2" name="Title 1"/>
          <p:cNvSpPr txBox="1"/>
          <p:nvPr>
            <p:custDataLst>
              <p:tags r:id="rId26"/>
            </p:custDataLst>
          </p:nvPr>
        </p:nvSpPr>
        <p:spPr>
          <a:xfrm>
            <a:off x="5697080" y="3838931"/>
            <a:ext cx="1785966" cy="546817"/>
          </a:xfrm>
          <a:prstGeom prst="rect">
            <a:avLst/>
          </a:prstGeom>
        </p:spPr>
        <p:txBody>
          <a:bodyPr wrap="square" tIns="46800" anchor="ctr" anchorCtr="0">
            <a:normAutofit fontScale="6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ysClr val="window" lastClr="FFFFFF">
                    <a:lumMod val="50000"/>
                  </a:sysClr>
                </a:solidFill>
                <a:latin typeface="Neris Thin" panose="00000300000000000000" pitchFamily="50" charset="0"/>
                <a:ea typeface="Gulim" panose="020B0600000101010101" pitchFamily="34" charset="-127"/>
                <a:cs typeface="+mn-ea"/>
              </a:defRPr>
            </a:lvl1pPr>
          </a:lstStyle>
          <a:p>
            <a:pPr algn="ctr">
              <a:lnSpc>
                <a:spcPct val="120000"/>
              </a:lnSpc>
            </a:pPr>
            <a:r>
              <a:rPr lang="zh-CN" altLang="en-US" sz="3600" spc="-3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癌症年轻化</a:t>
            </a:r>
            <a:endParaRPr lang="zh-CN" altLang="en-US" sz="3600" spc="-30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TextBox 41"/>
          <p:cNvSpPr txBox="1"/>
          <p:nvPr>
            <p:custDataLst>
              <p:tags r:id="rId27"/>
            </p:custDataLst>
          </p:nvPr>
        </p:nvSpPr>
        <p:spPr>
          <a:xfrm>
            <a:off x="4881530" y="5491497"/>
            <a:ext cx="3292707" cy="601077"/>
          </a:xfrm>
          <a:prstGeom prst="rect">
            <a:avLst/>
          </a:prstGeom>
          <a:noFill/>
        </p:spPr>
        <p:txBody>
          <a:bodyPr wrap="square" tIns="0" bIns="46800" rtlCol="0">
            <a:normAutofit/>
          </a:bodyPr>
          <a:lstStyle/>
          <a:p>
            <a:pPr algn="ctr">
              <a:lnSpc>
                <a:spcPct val="120000"/>
              </a:lnSpc>
              <a:buClrTx/>
              <a:buSzTx/>
              <a:buFontTx/>
            </a:pPr>
            <a:r>
              <a:rPr lang="zh-CN" altLang="en-US" sz="1200" dirty="0">
                <a:sym typeface="+mn-ea"/>
              </a:rPr>
              <a:t>中国人一生有</a:t>
            </a:r>
            <a:r>
              <a:rPr lang="en-US" altLang="zh-CN" sz="1200" dirty="0">
                <a:sym typeface="+mn-ea"/>
              </a:rPr>
              <a:t>22</a:t>
            </a:r>
            <a:r>
              <a:rPr lang="zh-CN" altLang="en-US" sz="1200" dirty="0">
                <a:sym typeface="+mn-ea"/>
              </a:rPr>
              <a:t>%的患癌机率。</a:t>
            </a:r>
            <a:endParaRPr lang="zh-CN" altLang="en-US" sz="1200" dirty="0">
              <a:sym typeface="+mn-ea"/>
            </a:endParaRPr>
          </a:p>
          <a:p>
            <a:pPr algn="ctr">
              <a:lnSpc>
                <a:spcPct val="120000"/>
              </a:lnSpc>
              <a:buClrTx/>
              <a:buSzTx/>
              <a:buFontTx/>
            </a:pPr>
            <a:r>
              <a:rPr lang="zh-CN" altLang="en-US" sz="1200" dirty="0">
                <a:sym typeface="+mn-ea"/>
              </a:rPr>
              <a:t>不注重吃早餐的人寿命平均缩短2.5岁。</a:t>
            </a:r>
            <a:endParaRPr lang="zh-CN" altLang="en-US" sz="1200" dirty="0"/>
          </a:p>
          <a:p>
            <a:pPr algn="ctr">
              <a:lnSpc>
                <a:spcPct val="120000"/>
              </a:lnSpc>
              <a:buClrTx/>
              <a:buSzTx/>
              <a:buFontTx/>
            </a:pPr>
            <a:endParaRPr lang="zh-CN" altLang="en-US" sz="1200" dirty="0">
              <a:sym typeface="+mn-ea"/>
            </a:endParaRPr>
          </a:p>
          <a:p>
            <a:pPr indent="0" algn="ctr">
              <a:lnSpc>
                <a:spcPct val="150000"/>
              </a:lnSpc>
              <a:buFont typeface="Arial" panose="020B0604020202020204" pitchFamily="34" charset="0"/>
              <a:buNone/>
            </a:pPr>
            <a:endParaRPr lang="zh-CN" altLang="en-US" sz="1200" spc="150">
              <a:solidFill>
                <a:sysClr val="window" lastClr="FFFFFF">
                  <a:lumMod val="5000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itle 1"/>
          <p:cNvSpPr txBox="1"/>
          <p:nvPr>
            <p:custDataLst>
              <p:tags r:id="rId28"/>
            </p:custDataLst>
          </p:nvPr>
        </p:nvSpPr>
        <p:spPr>
          <a:xfrm>
            <a:off x="4925342" y="4805040"/>
            <a:ext cx="3292708" cy="321368"/>
          </a:xfrm>
          <a:prstGeom prst="rect">
            <a:avLst/>
          </a:prstGeom>
        </p:spPr>
        <p:txBody>
          <a:bodyPr wrap="square" bIns="0" anchor="b" anchorCtr="0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ysClr val="window" lastClr="FFFFFF">
                    <a:lumMod val="50000"/>
                  </a:sysClr>
                </a:solidFill>
                <a:latin typeface="Neris Thin" panose="00000300000000000000" pitchFamily="50" charset="0"/>
                <a:ea typeface="Gulim" panose="020B0600000101010101" pitchFamily="34" charset="-127"/>
                <a:cs typeface="+mn-ea"/>
              </a:defRPr>
            </a:lvl1pPr>
          </a:lstStyle>
          <a:p>
            <a:pPr algn="ctr">
              <a:lnSpc>
                <a:spcPct val="120000"/>
              </a:lnSpc>
            </a:pPr>
            <a:r>
              <a:rPr lang="zh-CN" altLang="en-US" sz="1600" b="1" i="1" spc="30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食疗可以</a:t>
            </a:r>
            <a:r>
              <a:rPr lang="en-US" altLang="zh-CN" sz="1600" b="1" i="1" spc="30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1600" b="1" i="1" spc="30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未病</a:t>
            </a:r>
            <a:r>
              <a:rPr lang="en-US" altLang="zh-CN" sz="1600" b="1" i="1" spc="30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endParaRPr lang="en-US" altLang="zh-CN" sz="1600" b="1" i="1" spc="300">
              <a:solidFill>
                <a:srgbClr val="000000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Title 1"/>
          <p:cNvSpPr txBox="1"/>
          <p:nvPr>
            <p:custDataLst>
              <p:tags r:id="rId29"/>
            </p:custDataLst>
          </p:nvPr>
        </p:nvSpPr>
        <p:spPr>
          <a:xfrm>
            <a:off x="4925060" y="5168265"/>
            <a:ext cx="3536950" cy="292100"/>
          </a:xfrm>
          <a:prstGeom prst="rect">
            <a:avLst/>
          </a:prstGeom>
        </p:spPr>
        <p:txBody>
          <a:bodyPr wrap="square" tIns="46800" bIns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ysClr val="window" lastClr="FFFFFF">
                    <a:lumMod val="50000"/>
                  </a:sysClr>
                </a:solidFill>
                <a:latin typeface="Neris Thin" panose="00000300000000000000" pitchFamily="50" charset="0"/>
                <a:ea typeface="Gulim" panose="020B0600000101010101" pitchFamily="34" charset="-127"/>
                <a:cs typeface="+mn-ea"/>
              </a:defRPr>
            </a:lvl1pPr>
          </a:lstStyle>
          <a:p>
            <a:pPr algn="ctr">
              <a:lnSpc>
                <a:spcPct val="120000"/>
              </a:lnSpc>
              <a:buClrTx/>
              <a:buSzTx/>
              <a:buFontTx/>
            </a:pPr>
            <a:r>
              <a:rPr lang="zh-CN" altLang="en-US" sz="1600" b="1" i="1" spc="300">
                <a:solidFill>
                  <a:srgbClr val="1F74A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忽视饮食是癌症年轻化的原因</a:t>
            </a:r>
            <a:endParaRPr lang="zh-CN" altLang="en-US" sz="1600" b="1" i="1" spc="300">
              <a:solidFill>
                <a:srgbClr val="1F74AD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</p:spTree>
    <p:custDataLst>
      <p:tags r:id="rId30"/>
    </p:custData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ldLvl="0" animBg="1"/>
      <p:bldP spid="76" grpId="0" bldLvl="0" animBg="1"/>
      <p:bldP spid="92" grpId="0" bldLvl="0" animBg="1"/>
      <p:bldP spid="98" grpId="0" bldLvl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Rectangle 51"/>
          <p:cNvSpPr/>
          <p:nvPr>
            <p:custDataLst>
              <p:tags r:id="rId2"/>
            </p:custDataLst>
          </p:nvPr>
        </p:nvSpPr>
        <p:spPr>
          <a:xfrm>
            <a:off x="3923030" y="1647190"/>
            <a:ext cx="1295400" cy="268605"/>
          </a:xfrm>
          <a:prstGeom prst="rect">
            <a:avLst/>
          </a:prstGeom>
          <a:noFill/>
          <a:ln w="12700">
            <a:noFill/>
          </a:ln>
        </p:spPr>
        <p:txBody>
          <a:bodyPr wrap="none" lIns="90000" rIns="90000" anchor="ctr"/>
          <a:p>
            <a:pPr algn="l" eaLnBrk="0" hangingPunct="0"/>
            <a:endParaRPr lang="de-DE" altLang="zh-CN" sz="1600" dirty="0">
              <a:latin typeface="Arial" panose="020B0604020202020204" pitchFamily="34" charset="0"/>
            </a:endParaRPr>
          </a:p>
        </p:txBody>
      </p:sp>
      <p:sp>
        <p:nvSpPr>
          <p:cNvPr id="125" name="Rectangle 52"/>
          <p:cNvSpPr/>
          <p:nvPr>
            <p:custDataLst>
              <p:tags r:id="rId3"/>
            </p:custDataLst>
          </p:nvPr>
        </p:nvSpPr>
        <p:spPr>
          <a:xfrm>
            <a:off x="6894830" y="1763395"/>
            <a:ext cx="1371600" cy="158750"/>
          </a:xfrm>
          <a:prstGeom prst="rect">
            <a:avLst/>
          </a:prstGeom>
          <a:noFill/>
          <a:ln w="12700">
            <a:noFill/>
          </a:ln>
        </p:spPr>
        <p:txBody>
          <a:bodyPr wrap="none" lIns="90000" rIns="90000" anchor="ctr"/>
          <a:p>
            <a:pPr algn="l" eaLnBrk="0" hangingPunct="0"/>
            <a:endParaRPr lang="de-DE" altLang="zh-CN" sz="1600" dirty="0">
              <a:latin typeface="Arial" panose="020B0604020202020204" pitchFamily="34" charset="0"/>
            </a:endParaRPr>
          </a:p>
        </p:txBody>
      </p:sp>
      <p:sp>
        <p:nvSpPr>
          <p:cNvPr id="126" name="Rectangle 53"/>
          <p:cNvSpPr/>
          <p:nvPr>
            <p:custDataLst>
              <p:tags r:id="rId4"/>
            </p:custDataLst>
          </p:nvPr>
        </p:nvSpPr>
        <p:spPr>
          <a:xfrm>
            <a:off x="7726680" y="2715895"/>
            <a:ext cx="1468120" cy="406400"/>
          </a:xfrm>
          <a:prstGeom prst="rect">
            <a:avLst/>
          </a:prstGeom>
          <a:noFill/>
          <a:ln w="12700">
            <a:noFill/>
          </a:ln>
        </p:spPr>
        <p:txBody>
          <a:bodyPr wrap="none" lIns="90000" rIns="90000" anchor="ctr"/>
          <a:p>
            <a:pPr algn="l" eaLnBrk="0" hangingPunct="0"/>
            <a:endParaRPr lang="de-DE" altLang="zh-CN" sz="1600" dirty="0">
              <a:latin typeface="Arial" panose="020B0604020202020204" pitchFamily="34" charset="0"/>
            </a:endParaRPr>
          </a:p>
        </p:txBody>
      </p:sp>
      <p:sp>
        <p:nvSpPr>
          <p:cNvPr id="127" name="Rectangle 54"/>
          <p:cNvSpPr/>
          <p:nvPr>
            <p:custDataLst>
              <p:tags r:id="rId5"/>
            </p:custDataLst>
          </p:nvPr>
        </p:nvSpPr>
        <p:spPr>
          <a:xfrm>
            <a:off x="7847330" y="3211195"/>
            <a:ext cx="1252220" cy="273050"/>
          </a:xfrm>
          <a:prstGeom prst="rect">
            <a:avLst/>
          </a:prstGeom>
          <a:noFill/>
          <a:ln w="12700">
            <a:noFill/>
          </a:ln>
        </p:spPr>
        <p:txBody>
          <a:bodyPr wrap="none" lIns="90000" rIns="90000" anchor="ctr"/>
          <a:p>
            <a:pPr algn="l" eaLnBrk="0" hangingPunct="0"/>
            <a:endParaRPr lang="de-DE" altLang="zh-CN" sz="1600" dirty="0">
              <a:latin typeface="Arial" panose="020B0604020202020204" pitchFamily="34" charset="0"/>
            </a:endParaRPr>
          </a:p>
        </p:txBody>
      </p:sp>
      <p:sp>
        <p:nvSpPr>
          <p:cNvPr id="128" name="Rectangle 55"/>
          <p:cNvSpPr/>
          <p:nvPr>
            <p:custDataLst>
              <p:tags r:id="rId6"/>
            </p:custDataLst>
          </p:nvPr>
        </p:nvSpPr>
        <p:spPr>
          <a:xfrm>
            <a:off x="6259830" y="5344795"/>
            <a:ext cx="1143000" cy="369570"/>
          </a:xfrm>
          <a:prstGeom prst="rect">
            <a:avLst/>
          </a:prstGeom>
          <a:noFill/>
          <a:ln w="12700">
            <a:noFill/>
          </a:ln>
        </p:spPr>
        <p:txBody>
          <a:bodyPr wrap="none" lIns="90000" rIns="90000" anchor="ctr"/>
          <a:p>
            <a:pPr algn="l" eaLnBrk="0" hangingPunct="0"/>
            <a:endParaRPr lang="de-DE" altLang="zh-CN" sz="1600" dirty="0">
              <a:latin typeface="Arial" panose="020B0604020202020204" pitchFamily="34" charset="0"/>
            </a:endParaRPr>
          </a:p>
        </p:txBody>
      </p:sp>
      <p:sp>
        <p:nvSpPr>
          <p:cNvPr id="129" name="Rectangle 56"/>
          <p:cNvSpPr/>
          <p:nvPr>
            <p:custDataLst>
              <p:tags r:id="rId7"/>
            </p:custDataLst>
          </p:nvPr>
        </p:nvSpPr>
        <p:spPr>
          <a:xfrm>
            <a:off x="3135630" y="3682365"/>
            <a:ext cx="1092200" cy="268605"/>
          </a:xfrm>
          <a:prstGeom prst="rect">
            <a:avLst/>
          </a:prstGeom>
          <a:noFill/>
          <a:ln w="12700">
            <a:noFill/>
          </a:ln>
        </p:spPr>
        <p:txBody>
          <a:bodyPr wrap="none" lIns="90000" rIns="90000" anchor="ctr"/>
          <a:p>
            <a:pPr algn="l" eaLnBrk="0" hangingPunct="0"/>
            <a:endParaRPr lang="de-DE" altLang="zh-CN" sz="1600" dirty="0">
              <a:latin typeface="Arial" panose="020B0604020202020204" pitchFamily="34" charset="0"/>
            </a:endParaRPr>
          </a:p>
        </p:txBody>
      </p:sp>
      <p:sp>
        <p:nvSpPr>
          <p:cNvPr id="130" name="Rectangle 57"/>
          <p:cNvSpPr/>
          <p:nvPr>
            <p:custDataLst>
              <p:tags r:id="rId8"/>
            </p:custDataLst>
          </p:nvPr>
        </p:nvSpPr>
        <p:spPr>
          <a:xfrm>
            <a:off x="2503805" y="3634740"/>
            <a:ext cx="1524000" cy="220345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p>
            <a:pPr marL="190500" indent="-190500" algn="r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13  “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健康饮食 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· 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寿命积分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小程序小游戏，病毒式传播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1" name="Rectangle 60"/>
          <p:cNvSpPr/>
          <p:nvPr>
            <p:custDataLst>
              <p:tags r:id="rId9"/>
            </p:custDataLst>
          </p:nvPr>
        </p:nvSpPr>
        <p:spPr>
          <a:xfrm>
            <a:off x="6374765" y="1418590"/>
            <a:ext cx="1537970" cy="33083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1 	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10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个针对白领高发健康问题的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主题</a:t>
            </a:r>
            <a:r>
              <a:rPr lang="en-US" altLang="zh-CN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meal-prep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，如 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“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我没有秃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”</a:t>
            </a:r>
            <a:endParaRPr lang="en-US" altLang="zh-CN" sz="8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 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2" name="Rectangle 61"/>
          <p:cNvSpPr/>
          <p:nvPr>
            <p:custDataLst>
              <p:tags r:id="rId10"/>
            </p:custDataLst>
          </p:nvPr>
        </p:nvSpPr>
        <p:spPr>
          <a:xfrm>
            <a:off x="7146290" y="1870710"/>
            <a:ext cx="2197735" cy="10985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2 	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轻食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&amp;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茶饮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方便食品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淘宝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/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超市零售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3" name="Rectangle 62"/>
          <p:cNvSpPr/>
          <p:nvPr>
            <p:custDataLst>
              <p:tags r:id="rId11"/>
            </p:custDataLst>
          </p:nvPr>
        </p:nvSpPr>
        <p:spPr>
          <a:xfrm>
            <a:off x="7504430" y="2172335"/>
            <a:ext cx="2218690" cy="33083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3 	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特殊人群特色饮食供应，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如月子餐、糖友餐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、健身餐，与其他机构合作，占领细分市场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42875" indent="-142875" algn="l" defTabSz="762000" eaLnBrk="0" hangingPunct="0">
              <a:lnSpc>
                <a:spcPct val="90000"/>
              </a:lnSpc>
            </a:pP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4" name="Rectangle 63"/>
          <p:cNvSpPr/>
          <p:nvPr>
            <p:custDataLst>
              <p:tags r:id="rId12"/>
            </p:custDataLst>
          </p:nvPr>
        </p:nvSpPr>
        <p:spPr>
          <a:xfrm>
            <a:off x="7866380" y="2715895"/>
            <a:ext cx="1826895" cy="44069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4 	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大数据饮食规划平台上线：只要注册会员，就能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永久免费定制私人菜单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，人工智能营养师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42875" indent="-142875" algn="l" defTabSz="762000" eaLnBrk="0" hangingPunct="0">
              <a:lnSpc>
                <a:spcPct val="90000"/>
              </a:lnSpc>
            </a:pP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5" name="Rectangle 64"/>
          <p:cNvSpPr/>
          <p:nvPr>
            <p:custDataLst>
              <p:tags r:id="rId13"/>
            </p:custDataLst>
          </p:nvPr>
        </p:nvSpPr>
        <p:spPr>
          <a:xfrm>
            <a:off x="7977505" y="3211195"/>
            <a:ext cx="1676400" cy="33083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5  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会员追踪式饮食管理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：食疗顾问、送餐服务、健康小贴士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	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6" name="Rectangle 65"/>
          <p:cNvSpPr/>
          <p:nvPr>
            <p:custDataLst>
              <p:tags r:id="rId14"/>
            </p:custDataLst>
          </p:nvPr>
        </p:nvSpPr>
        <p:spPr>
          <a:xfrm>
            <a:off x="7912735" y="3634740"/>
            <a:ext cx="1590675" cy="33083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6 	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打造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自媒体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：优质营养学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+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中医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科普干货文章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，带流量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42875" indent="-142875" algn="l" defTabSz="762000" eaLnBrk="0" hangingPunct="0">
              <a:lnSpc>
                <a:spcPct val="90000"/>
              </a:lnSpc>
            </a:pP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7" name="Rectangle 66"/>
          <p:cNvSpPr/>
          <p:nvPr>
            <p:custDataLst>
              <p:tags r:id="rId15"/>
            </p:custDataLst>
          </p:nvPr>
        </p:nvSpPr>
        <p:spPr>
          <a:xfrm>
            <a:off x="7847330" y="4149090"/>
            <a:ext cx="1318895" cy="22034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7 	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网红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meal-prep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餐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&amp;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花果茶饮 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优质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教学视频</a:t>
            </a:r>
            <a:endParaRPr lang="zh-CN" altLang="en-US" sz="800" b="1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8" name="Rectangle 69"/>
          <p:cNvSpPr/>
          <p:nvPr>
            <p:custDataLst>
              <p:tags r:id="rId16"/>
            </p:custDataLst>
          </p:nvPr>
        </p:nvSpPr>
        <p:spPr>
          <a:xfrm>
            <a:off x="6696710" y="5212715"/>
            <a:ext cx="1693545" cy="33083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9 	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利用视频积累，打造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厨艺领域的</a:t>
            </a:r>
            <a:r>
              <a:rPr lang="en-US" altLang="zh-CN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Keep app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，海量视频搜索推荐、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家庭厨房教练</a:t>
            </a:r>
            <a:endParaRPr lang="zh-CN" altLang="en-US" sz="800" b="1" dirty="0">
              <a:latin typeface="Arial" panose="020B0604020202020204" pitchFamily="34" charset="0"/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9" name="Rectangle 70"/>
          <p:cNvSpPr/>
          <p:nvPr>
            <p:custDataLst>
              <p:tags r:id="rId17"/>
            </p:custDataLst>
          </p:nvPr>
        </p:nvSpPr>
        <p:spPr>
          <a:xfrm>
            <a:off x="2865120" y="4806950"/>
            <a:ext cx="1957705" cy="33083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90500" indent="-190500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11 	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人工智能美食家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，结合各国菜系风味、营养搭配和指定健康需求，制作全新菜品，集结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《</a:t>
            </a:r>
            <a:r>
              <a:rPr lang="en-US" altLang="zh-CN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AI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食谱》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，形成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版权</a:t>
            </a:r>
            <a:endParaRPr lang="en-US" altLang="zh-CN" sz="800" b="1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40" name="Rectangle 75"/>
          <p:cNvSpPr/>
          <p:nvPr>
            <p:custDataLst>
              <p:tags r:id="rId18"/>
            </p:custDataLst>
          </p:nvPr>
        </p:nvSpPr>
        <p:spPr>
          <a:xfrm>
            <a:off x="2773045" y="3246755"/>
            <a:ext cx="1219200" cy="109855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p>
            <a:pPr marL="190500" indent="-190500" algn="r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14 	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健康饮食习惯打卡社群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 </a:t>
            </a:r>
            <a:endParaRPr lang="en-US" altLang="zh-CN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41" name="Rectangle 76"/>
          <p:cNvSpPr/>
          <p:nvPr>
            <p:custDataLst>
              <p:tags r:id="rId19"/>
            </p:custDataLst>
          </p:nvPr>
        </p:nvSpPr>
        <p:spPr>
          <a:xfrm>
            <a:off x="2616200" y="2621280"/>
            <a:ext cx="1532890" cy="33083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90500" indent="-190500" algn="r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15 	 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家庭菜篮一键下单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，与生态农园合作，开发每周送菜务，追溯上游利润</a:t>
            </a:r>
            <a:endParaRPr lang="en-US" altLang="zh-CN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42" name="Rectangle 77"/>
          <p:cNvSpPr/>
          <p:nvPr>
            <p:custDataLst>
              <p:tags r:id="rId20"/>
            </p:custDataLst>
          </p:nvPr>
        </p:nvSpPr>
        <p:spPr>
          <a:xfrm>
            <a:off x="3135630" y="1980565"/>
            <a:ext cx="1461770" cy="22034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90500" indent="-190500" algn="r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16 	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采用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店铺加盟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方式，推广店面，形成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一线城市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店铺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网络</a:t>
            </a:r>
            <a:endParaRPr lang="zh-CN" altLang="en-US" sz="800" b="1" dirty="0">
              <a:latin typeface="Arial" panose="020B0604020202020204" pitchFamily="34" charset="0"/>
              <a:ea typeface="宋体" panose="02010600030101010101" pitchFamily="2" charset="-122"/>
              <a:sym typeface="+mn-ea"/>
            </a:endParaRPr>
          </a:p>
        </p:txBody>
      </p:sp>
      <p:sp>
        <p:nvSpPr>
          <p:cNvPr id="143" name="Rectangle 78"/>
          <p:cNvSpPr/>
          <p:nvPr>
            <p:custDataLst>
              <p:tags r:id="rId21"/>
            </p:custDataLst>
          </p:nvPr>
        </p:nvSpPr>
        <p:spPr>
          <a:xfrm>
            <a:off x="4273550" y="1449705"/>
            <a:ext cx="1411605" cy="22034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90500" indent="-190500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17 	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生态农园为全国网点供应新鲜食材，形成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</a:rPr>
              <a:t>闭环</a:t>
            </a:r>
            <a:endParaRPr lang="zh-CN" altLang="en-US" sz="800" b="1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44" name="Text Box 79"/>
          <p:cNvSpPr txBox="1"/>
          <p:nvPr>
            <p:custDataLst>
              <p:tags r:id="rId22"/>
            </p:custDataLst>
          </p:nvPr>
        </p:nvSpPr>
        <p:spPr>
          <a:xfrm>
            <a:off x="9131300" y="1056640"/>
            <a:ext cx="792480" cy="422275"/>
          </a:xfrm>
          <a:prstGeom prst="rect">
            <a:avLst/>
          </a:prstGeom>
          <a:noFill/>
          <a:ln w="12700">
            <a:noFill/>
          </a:ln>
        </p:spPr>
        <p:txBody>
          <a:bodyPr wrap="none">
            <a:spAutoFit/>
          </a:bodyPr>
          <a:p>
            <a:pPr algn="l" defTabSz="762000" eaLnBrk="0" hangingPunct="0">
              <a:lnSpc>
                <a:spcPct val="90000"/>
              </a:lnSpc>
              <a:tabLst>
                <a:tab pos="190500" algn="l"/>
              </a:tabLst>
            </a:pP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创业前期计划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l" defTabSz="762000" eaLnBrk="0" hangingPunct="0">
              <a:lnSpc>
                <a:spcPct val="90000"/>
              </a:lnSpc>
              <a:tabLst>
                <a:tab pos="190500" algn="l"/>
              </a:tabLst>
            </a:pP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l" defTabSz="762000" eaLnBrk="0" hangingPunct="0">
              <a:lnSpc>
                <a:spcPct val="90000"/>
              </a:lnSpc>
              <a:tabLst>
                <a:tab pos="190500" algn="l"/>
              </a:tabLst>
            </a:pP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核心竞争力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45" name="Line 85"/>
          <p:cNvSpPr/>
          <p:nvPr>
            <p:custDataLst>
              <p:tags r:id="rId23"/>
            </p:custDataLst>
          </p:nvPr>
        </p:nvSpPr>
        <p:spPr>
          <a:xfrm>
            <a:off x="5970905" y="3510915"/>
            <a:ext cx="3055620" cy="1351280"/>
          </a:xfrm>
          <a:prstGeom prst="line">
            <a:avLst/>
          </a:prstGeom>
          <a:ln w="28575" cap="flat" cmpd="sng">
            <a:solidFill>
              <a:schemeClr val="bg2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146" name="Line 86"/>
          <p:cNvSpPr/>
          <p:nvPr>
            <p:custDataLst>
              <p:tags r:id="rId24"/>
            </p:custDataLst>
          </p:nvPr>
        </p:nvSpPr>
        <p:spPr>
          <a:xfrm flipH="1" flipV="1">
            <a:off x="5970905" y="958215"/>
            <a:ext cx="20320" cy="2568575"/>
          </a:xfrm>
          <a:prstGeom prst="line">
            <a:avLst/>
          </a:prstGeom>
          <a:ln w="28575" cap="flat" cmpd="sng">
            <a:solidFill>
              <a:schemeClr val="bg2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147" name="Rectangle 87"/>
          <p:cNvSpPr/>
          <p:nvPr>
            <p:custDataLst>
              <p:tags r:id="rId25"/>
            </p:custDataLst>
          </p:nvPr>
        </p:nvSpPr>
        <p:spPr>
          <a:xfrm>
            <a:off x="2207895" y="4225925"/>
            <a:ext cx="2019935" cy="2203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square" lIns="0" tIns="0" rIns="0" bIns="0">
            <a:spAutoFit/>
          </a:bodyPr>
          <a:p>
            <a:pPr marL="190500" indent="-190500" algn="r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12 	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线下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</a:rPr>
              <a:t> </a:t>
            </a:r>
            <a:r>
              <a:rPr lang="en-US" altLang="zh-CN" sz="800" b="1" dirty="0">
                <a:latin typeface="Arial" panose="020B0604020202020204" pitchFamily="34" charset="0"/>
                <a:ea typeface="宋体" panose="02010600030101010101" pitchFamily="2" charset="-122"/>
              </a:rPr>
              <a:t>“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</a:rPr>
              <a:t>食研基地</a:t>
            </a:r>
            <a:r>
              <a:rPr lang="en-US" altLang="zh-CN" sz="800" b="1" dirty="0">
                <a:latin typeface="Arial" panose="020B0604020202020204" pitchFamily="34" charset="0"/>
                <a:ea typeface="宋体" panose="02010600030101010101" pitchFamily="2" charset="-122"/>
              </a:rPr>
              <a:t> ”“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</a:rPr>
              <a:t>功能性饮食创新坊</a:t>
            </a:r>
            <a:r>
              <a:rPr lang="en-US" altLang="zh-CN" sz="800" b="1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</a:rPr>
              <a:t>，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面向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</a:rPr>
              <a:t>都市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人群进行周末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</a:rPr>
              <a:t>私厨教学</a:t>
            </a:r>
            <a:endParaRPr lang="en-US" altLang="zh-CN" sz="800" b="1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48" name="Rectangle 88"/>
          <p:cNvSpPr/>
          <p:nvPr>
            <p:custDataLst>
              <p:tags r:id="rId26"/>
            </p:custDataLst>
          </p:nvPr>
        </p:nvSpPr>
        <p:spPr>
          <a:xfrm>
            <a:off x="7456170" y="4668520"/>
            <a:ext cx="1738630" cy="22034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b="1" dirty="0">
                <a:latin typeface="Arial" panose="020B0604020202020204" pitchFamily="34" charset="0"/>
                <a:ea typeface="宋体" panose="02010600030101010101" pitchFamily="2" charset="-122"/>
              </a:rPr>
              <a:t>8 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《食材故事》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美食食疗纪录片，传递自然温情，文化概念输出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	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49" name="Rectangle 89"/>
          <p:cNvSpPr/>
          <p:nvPr>
            <p:custDataLst>
              <p:tags r:id="rId27"/>
            </p:custDataLst>
          </p:nvPr>
        </p:nvSpPr>
        <p:spPr>
          <a:xfrm>
            <a:off x="4822825" y="5363845"/>
            <a:ext cx="1336040" cy="33083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90500" indent="-190500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10 	App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生活家短视频：厨艺博主上传食谱照片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/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厨艺视频，汇集美好生活瞬间。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50" name="Arc 90"/>
          <p:cNvSpPr/>
          <p:nvPr>
            <p:custDataLst>
              <p:tags r:id="rId28"/>
            </p:custDataLst>
          </p:nvPr>
        </p:nvSpPr>
        <p:spPr>
          <a:xfrm rot="550083" flipH="1" flipV="1">
            <a:off x="2355850" y="4043045"/>
            <a:ext cx="1050925" cy="1017270"/>
          </a:xfrm>
          <a:custGeom>
            <a:avLst/>
            <a:gdLst>
              <a:gd name="txL" fmla="*/ 0 w 21470"/>
              <a:gd name="txT" fmla="*/ 0 h 20804"/>
              <a:gd name="txR" fmla="*/ 21470 w 21470"/>
              <a:gd name="txB" fmla="*/ 20804 h 20804"/>
            </a:gdLst>
            <a:ahLst/>
            <a:cxnLst>
              <a:cxn ang="0">
                <a:pos x="284342" y="0"/>
              </a:cxn>
              <a:cxn ang="0">
                <a:pos x="1050925" y="901663"/>
              </a:cxn>
              <a:cxn ang="0">
                <a:pos x="0" y="1017587"/>
              </a:cxn>
            </a:cxnLst>
            <a:rect l="txL" t="txT" r="txR" b="txB"/>
            <a:pathLst>
              <a:path w="21470" h="20804" fill="none">
                <a:moveTo>
                  <a:pt x="5809" y="-1"/>
                </a:moveTo>
                <a:cubicBezTo>
                  <a:pt x="14302" y="2371"/>
                  <a:pt x="20501" y="9668"/>
                  <a:pt x="21469" y="18434"/>
                </a:cubicBezTo>
              </a:path>
              <a:path w="21470" h="20804" stroke="0">
                <a:moveTo>
                  <a:pt x="5809" y="-1"/>
                </a:moveTo>
                <a:cubicBezTo>
                  <a:pt x="14302" y="2371"/>
                  <a:pt x="20501" y="9668"/>
                  <a:pt x="21469" y="18434"/>
                </a:cubicBezTo>
                <a:lnTo>
                  <a:pt x="0" y="20804"/>
                </a:lnTo>
                <a:close/>
              </a:path>
            </a:pathLst>
          </a:custGeom>
          <a:noFill/>
          <a:ln w="9525" cap="flat" cmpd="sng">
            <a:solidFill>
              <a:schemeClr val="bg2">
                <a:alpha val="100000"/>
              </a:schemeClr>
            </a:solidFill>
            <a:prstDash val="solid"/>
            <a:round/>
            <a:headEnd type="none" w="lg" len="lg"/>
            <a:tailEnd type="stealth" w="lg" len="lg"/>
          </a:ln>
        </p:spPr>
        <p:txBody>
          <a:bodyPr/>
          <a:p>
            <a:endParaRPr lang="zh-CN" altLang="en-US"/>
          </a:p>
        </p:txBody>
      </p:sp>
      <p:sp>
        <p:nvSpPr>
          <p:cNvPr id="151" name="Oval 91"/>
          <p:cNvSpPr/>
          <p:nvPr>
            <p:custDataLst>
              <p:tags r:id="rId29"/>
            </p:custDataLst>
          </p:nvPr>
        </p:nvSpPr>
        <p:spPr>
          <a:xfrm>
            <a:off x="1820545" y="4737735"/>
            <a:ext cx="952500" cy="358775"/>
          </a:xfrm>
          <a:prstGeom prst="ellipse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p>
            <a:pPr defTabSz="762000" eaLnBrk="0" hangingPunct="0">
              <a:lnSpc>
                <a:spcPct val="90000"/>
              </a:lnSpc>
            </a:pPr>
            <a:r>
              <a:rPr lang="en-US" altLang="zh-CN" sz="1600" b="1" dirty="0">
                <a:latin typeface="+mn-ea"/>
                <a:cs typeface="+mn-ea"/>
              </a:rPr>
              <a:t> </a:t>
            </a:r>
            <a:r>
              <a:rPr lang="zh-CN" altLang="en-US" sz="1600" b="1" dirty="0">
                <a:latin typeface="+mn-ea"/>
                <a:cs typeface="+mn-ea"/>
              </a:rPr>
              <a:t>愿景</a:t>
            </a:r>
            <a:endParaRPr lang="zh-CN" altLang="en-US" sz="1600" b="1" dirty="0">
              <a:latin typeface="+mn-ea"/>
              <a:cs typeface="+mn-ea"/>
            </a:endParaRPr>
          </a:p>
        </p:txBody>
      </p:sp>
      <p:sp>
        <p:nvSpPr>
          <p:cNvPr id="152" name="Oval 93"/>
          <p:cNvSpPr/>
          <p:nvPr>
            <p:custDataLst>
              <p:tags r:id="rId30"/>
            </p:custDataLst>
          </p:nvPr>
        </p:nvSpPr>
        <p:spPr>
          <a:xfrm>
            <a:off x="7454900" y="999490"/>
            <a:ext cx="954405" cy="358775"/>
          </a:xfrm>
          <a:prstGeom prst="ellipse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p>
            <a:pPr defTabSz="762000" eaLnBrk="0" hangingPunct="0">
              <a:lnSpc>
                <a:spcPct val="90000"/>
              </a:lnSpc>
            </a:pPr>
            <a:r>
              <a:rPr lang="en-US" altLang="zh-CN" sz="1600" b="1" dirty="0">
                <a:latin typeface="+mn-ea"/>
              </a:rPr>
              <a:t> </a:t>
            </a:r>
            <a:r>
              <a:rPr lang="zh-CN" altLang="en-US" sz="1600" b="1" dirty="0">
                <a:latin typeface="+mn-ea"/>
              </a:rPr>
              <a:t>启动</a:t>
            </a:r>
            <a:endParaRPr lang="zh-CN" altLang="en-US" sz="1600" b="1" dirty="0">
              <a:latin typeface="+mn-ea"/>
            </a:endParaRPr>
          </a:p>
        </p:txBody>
      </p:sp>
      <p:sp>
        <p:nvSpPr>
          <p:cNvPr id="153" name="Arc 94"/>
          <p:cNvSpPr/>
          <p:nvPr>
            <p:custDataLst>
              <p:tags r:id="rId31"/>
            </p:custDataLst>
          </p:nvPr>
        </p:nvSpPr>
        <p:spPr>
          <a:xfrm rot="16872507" flipH="1" flipV="1">
            <a:off x="8010525" y="4655820"/>
            <a:ext cx="1206500" cy="1190625"/>
          </a:xfrm>
          <a:custGeom>
            <a:avLst/>
            <a:gdLst>
              <a:gd name="txL" fmla="*/ 0 w 20881"/>
              <a:gd name="txT" fmla="*/ 0 h 20711"/>
              <a:gd name="txR" fmla="*/ 20881 w 20881"/>
              <a:gd name="txB" fmla="*/ 20711 h 20711"/>
            </a:gdLst>
            <a:ahLst/>
            <a:cxnLst>
              <a:cxn ang="0">
                <a:pos x="354363" y="0"/>
              </a:cxn>
              <a:cxn ang="0">
                <a:pos x="1206500" y="872834"/>
              </a:cxn>
              <a:cxn ang="0">
                <a:pos x="0" y="1190625"/>
              </a:cxn>
            </a:cxnLst>
            <a:rect l="txL" t="txT" r="txR" b="txB"/>
            <a:pathLst>
              <a:path w="20881" h="20711" fill="none">
                <a:moveTo>
                  <a:pt x="6133" y="-1"/>
                </a:moveTo>
                <a:cubicBezTo>
                  <a:pt x="13361" y="2140"/>
                  <a:pt x="18951" y="7895"/>
                  <a:pt x="20880" y="15183"/>
                </a:cubicBezTo>
              </a:path>
              <a:path w="20881" h="20711" stroke="0">
                <a:moveTo>
                  <a:pt x="6133" y="-1"/>
                </a:moveTo>
                <a:cubicBezTo>
                  <a:pt x="13361" y="2140"/>
                  <a:pt x="18951" y="7895"/>
                  <a:pt x="20880" y="15183"/>
                </a:cubicBezTo>
                <a:lnTo>
                  <a:pt x="0" y="20711"/>
                </a:lnTo>
                <a:close/>
              </a:path>
            </a:pathLst>
          </a:custGeom>
          <a:noFill/>
          <a:ln w="9525" cap="flat" cmpd="sng">
            <a:solidFill>
              <a:schemeClr val="bg2">
                <a:alpha val="100000"/>
              </a:schemeClr>
            </a:solidFill>
            <a:prstDash val="solid"/>
            <a:round/>
            <a:headEnd type="none" w="lg" len="lg"/>
            <a:tailEnd type="stealth" w="lg" len="lg"/>
          </a:ln>
        </p:spPr>
        <p:txBody>
          <a:bodyPr/>
          <a:p>
            <a:endParaRPr lang="zh-CN" altLang="en-US"/>
          </a:p>
        </p:txBody>
      </p:sp>
      <p:sp>
        <p:nvSpPr>
          <p:cNvPr id="154" name="Oval 95"/>
          <p:cNvSpPr/>
          <p:nvPr>
            <p:custDataLst>
              <p:tags r:id="rId32"/>
            </p:custDataLst>
          </p:nvPr>
        </p:nvSpPr>
        <p:spPr>
          <a:xfrm>
            <a:off x="8390255" y="5316220"/>
            <a:ext cx="953770" cy="358775"/>
          </a:xfrm>
          <a:prstGeom prst="ellipse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p>
            <a:pPr algn="l" defTabSz="762000" eaLnBrk="0" hangingPunct="0">
              <a:lnSpc>
                <a:spcPct val="90000"/>
              </a:lnSpc>
            </a:pPr>
            <a:r>
              <a:rPr lang="en-US" altLang="zh-CN" sz="1600" b="1" dirty="0">
                <a:latin typeface="+mn-ea"/>
              </a:rPr>
              <a:t> </a:t>
            </a:r>
            <a:r>
              <a:rPr lang="zh-CN" altLang="en-US" sz="1600" b="1" dirty="0">
                <a:latin typeface="+mn-ea"/>
              </a:rPr>
              <a:t>主体</a:t>
            </a:r>
            <a:endParaRPr lang="zh-CN" altLang="en-US" sz="1600" b="1" dirty="0">
              <a:latin typeface="+mn-ea"/>
            </a:endParaRPr>
          </a:p>
        </p:txBody>
      </p:sp>
      <p:graphicFrame>
        <p:nvGraphicFramePr>
          <p:cNvPr id="156" name="图表 155"/>
          <p:cNvGraphicFramePr/>
          <p:nvPr/>
        </p:nvGraphicFramePr>
        <p:xfrm>
          <a:off x="3891280" y="1477645"/>
          <a:ext cx="4180205" cy="39128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57" name="文本框 156"/>
          <p:cNvSpPr txBox="1"/>
          <p:nvPr/>
        </p:nvSpPr>
        <p:spPr>
          <a:xfrm rot="1740000">
            <a:off x="6570345" y="2002790"/>
            <a:ext cx="6400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b="1">
                <a:solidFill>
                  <a:schemeClr val="bg1"/>
                </a:solidFill>
              </a:rPr>
              <a:t>产品</a:t>
            </a:r>
            <a:endParaRPr lang="zh-CN" altLang="en-US" b="1">
              <a:solidFill>
                <a:schemeClr val="bg1"/>
              </a:solidFill>
            </a:endParaRPr>
          </a:p>
        </p:txBody>
      </p:sp>
      <p:sp>
        <p:nvSpPr>
          <p:cNvPr id="158" name="文本框 157"/>
          <p:cNvSpPr txBox="1"/>
          <p:nvPr/>
        </p:nvSpPr>
        <p:spPr>
          <a:xfrm rot="18840000">
            <a:off x="6795135" y="4335780"/>
            <a:ext cx="6400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b="1">
                <a:solidFill>
                  <a:schemeClr val="bg1"/>
                </a:solidFill>
              </a:rPr>
              <a:t>服务</a:t>
            </a:r>
            <a:endParaRPr lang="zh-CN" altLang="en-US" b="1">
              <a:solidFill>
                <a:schemeClr val="bg1"/>
              </a:solidFill>
            </a:endParaRPr>
          </a:p>
        </p:txBody>
      </p:sp>
      <p:sp>
        <p:nvSpPr>
          <p:cNvPr id="159" name="文本框 158"/>
          <p:cNvSpPr txBox="1"/>
          <p:nvPr/>
        </p:nvSpPr>
        <p:spPr>
          <a:xfrm rot="2880000">
            <a:off x="4260215" y="3982085"/>
            <a:ext cx="64008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b="1">
                <a:solidFill>
                  <a:schemeClr val="bg1"/>
                </a:solidFill>
              </a:rPr>
              <a:t>文化</a:t>
            </a:r>
            <a:endParaRPr lang="zh-CN" altLang="en-US" b="1">
              <a:solidFill>
                <a:schemeClr val="bg1"/>
              </a:solidFill>
            </a:endParaRPr>
          </a:p>
        </p:txBody>
      </p:sp>
      <p:sp>
        <p:nvSpPr>
          <p:cNvPr id="160" name="文本框 159"/>
          <p:cNvSpPr txBox="1"/>
          <p:nvPr/>
        </p:nvSpPr>
        <p:spPr>
          <a:xfrm rot="19440000">
            <a:off x="4582160" y="2094230"/>
            <a:ext cx="8686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b="1">
                <a:solidFill>
                  <a:schemeClr val="bg1"/>
                </a:solidFill>
              </a:rPr>
              <a:t>产业链</a:t>
            </a:r>
            <a:endParaRPr lang="zh-CN" altLang="en-US" b="1">
              <a:solidFill>
                <a:schemeClr val="bg1"/>
              </a:solidFill>
            </a:endParaRPr>
          </a:p>
        </p:txBody>
      </p:sp>
      <p:grpSp>
        <p:nvGrpSpPr>
          <p:cNvPr id="161" name="组合 160"/>
          <p:cNvGrpSpPr/>
          <p:nvPr/>
        </p:nvGrpSpPr>
        <p:grpSpPr>
          <a:xfrm rot="900000" flipH="1">
            <a:off x="4856480" y="2229485"/>
            <a:ext cx="2272030" cy="2414905"/>
            <a:chOff x="6817" y="2642"/>
            <a:chExt cx="5754" cy="6117"/>
          </a:xfrm>
        </p:grpSpPr>
        <p:sp>
          <p:nvSpPr>
            <p:cNvPr id="162" name="椭圆 161"/>
            <p:cNvSpPr/>
            <p:nvPr/>
          </p:nvSpPr>
          <p:spPr>
            <a:xfrm>
              <a:off x="6817" y="2827"/>
              <a:ext cx="5754" cy="5754"/>
            </a:xfrm>
            <a:prstGeom prst="ellipse">
              <a:avLst/>
            </a:prstGeom>
            <a:noFill/>
            <a:ln w="19050" cap="rnd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p>
              <a:pPr algn="ctr" defTabSz="914400">
                <a:defRPr/>
              </a:pPr>
              <a:endParaRPr lang="zh-CN" altLang="en-US" sz="2800">
                <a:solidFill>
                  <a:schemeClr val="tx1"/>
                </a:solidFill>
                <a:latin typeface="Bauhaus 93" panose="04030905020B02020C02" pitchFamily="82" charset="0"/>
              </a:endParaRPr>
            </a:p>
          </p:txBody>
        </p:sp>
        <p:sp>
          <p:nvSpPr>
            <p:cNvPr id="163" name="半闭框 162"/>
            <p:cNvSpPr/>
            <p:nvPr/>
          </p:nvSpPr>
          <p:spPr>
            <a:xfrm rot="18922839">
              <a:off x="9676" y="2642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4" name="半闭框 163"/>
            <p:cNvSpPr/>
            <p:nvPr/>
          </p:nvSpPr>
          <p:spPr>
            <a:xfrm rot="15054099">
              <a:off x="7026" y="4041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5" name="半闭框 164"/>
            <p:cNvSpPr/>
            <p:nvPr/>
          </p:nvSpPr>
          <p:spPr>
            <a:xfrm rot="11981181">
              <a:off x="6931" y="6774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6" name="半闭框 165"/>
            <p:cNvSpPr/>
            <p:nvPr/>
          </p:nvSpPr>
          <p:spPr>
            <a:xfrm rot="8111514">
              <a:off x="9238" y="8390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7" name="半闭框 166"/>
            <p:cNvSpPr/>
            <p:nvPr/>
          </p:nvSpPr>
          <p:spPr>
            <a:xfrm rot="4949669">
              <a:off x="11957" y="6964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8" name="半闭框 167"/>
            <p:cNvSpPr/>
            <p:nvPr/>
          </p:nvSpPr>
          <p:spPr>
            <a:xfrm>
              <a:off x="12132" y="4207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169" name="Text Box 83"/>
          <p:cNvSpPr txBox="1"/>
          <p:nvPr>
            <p:custDataLst>
              <p:tags r:id="rId33"/>
            </p:custDataLst>
          </p:nvPr>
        </p:nvSpPr>
        <p:spPr>
          <a:xfrm>
            <a:off x="6209665" y="2590165"/>
            <a:ext cx="589280" cy="201295"/>
          </a:xfrm>
          <a:prstGeom prst="rect">
            <a:avLst/>
          </a:prstGeom>
          <a:noFill/>
          <a:ln w="12700">
            <a:noFill/>
          </a:ln>
        </p:spPr>
        <p:txBody>
          <a:bodyPr wrap="none">
            <a:spAutoFit/>
          </a:bodyPr>
          <a:p>
            <a:pPr algn="l" defTabSz="762000" eaLnBrk="0" hangingPunct="0">
              <a:lnSpc>
                <a:spcPct val="90000"/>
              </a:lnSpc>
              <a:tabLst>
                <a:tab pos="190500" algn="l"/>
              </a:tabLst>
            </a:pP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单点突破</a:t>
            </a:r>
            <a:endParaRPr lang="en-US" altLang="zh-CN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70" name="Text Box 83"/>
          <p:cNvSpPr txBox="1"/>
          <p:nvPr>
            <p:custDataLst>
              <p:tags r:id="rId34"/>
            </p:custDataLst>
          </p:nvPr>
        </p:nvSpPr>
        <p:spPr>
          <a:xfrm>
            <a:off x="6654165" y="3749675"/>
            <a:ext cx="386080" cy="201295"/>
          </a:xfrm>
          <a:prstGeom prst="rect">
            <a:avLst/>
          </a:prstGeom>
          <a:noFill/>
          <a:ln w="12700">
            <a:noFill/>
          </a:ln>
        </p:spPr>
        <p:txBody>
          <a:bodyPr wrap="none">
            <a:spAutoFit/>
          </a:bodyPr>
          <a:p>
            <a:pPr algn="l" defTabSz="762000" eaLnBrk="0" hangingPunct="0">
              <a:lnSpc>
                <a:spcPct val="90000"/>
              </a:lnSpc>
              <a:tabLst>
                <a:tab pos="190500" algn="l"/>
              </a:tabLst>
            </a:pP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流量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71" name="Text Box 83"/>
          <p:cNvSpPr txBox="1"/>
          <p:nvPr>
            <p:custDataLst>
              <p:tags r:id="rId35"/>
            </p:custDataLst>
          </p:nvPr>
        </p:nvSpPr>
        <p:spPr>
          <a:xfrm>
            <a:off x="5076825" y="3922395"/>
            <a:ext cx="438785" cy="201295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p>
            <a:pPr algn="l" defTabSz="762000" eaLnBrk="0" hangingPunct="0">
              <a:lnSpc>
                <a:spcPct val="90000"/>
              </a:lnSpc>
              <a:tabLst>
                <a:tab pos="190500" algn="l"/>
              </a:tabLst>
            </a:pP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沉淀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72" name="Text Box 83"/>
          <p:cNvSpPr txBox="1"/>
          <p:nvPr>
            <p:custDataLst>
              <p:tags r:id="rId36"/>
            </p:custDataLst>
          </p:nvPr>
        </p:nvSpPr>
        <p:spPr>
          <a:xfrm>
            <a:off x="5090160" y="2750820"/>
            <a:ext cx="386080" cy="201295"/>
          </a:xfrm>
          <a:prstGeom prst="rect">
            <a:avLst/>
          </a:prstGeom>
          <a:noFill/>
          <a:ln w="12700">
            <a:noFill/>
          </a:ln>
        </p:spPr>
        <p:txBody>
          <a:bodyPr wrap="none">
            <a:spAutoFit/>
          </a:bodyPr>
          <a:p>
            <a:pPr algn="l" defTabSz="762000" eaLnBrk="0" hangingPunct="0">
              <a:lnSpc>
                <a:spcPct val="90000"/>
              </a:lnSpc>
              <a:tabLst>
                <a:tab pos="190500" algn="l"/>
              </a:tabLst>
            </a:pP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变现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grpSp>
        <p:nvGrpSpPr>
          <p:cNvPr id="173" name="组合 172"/>
          <p:cNvGrpSpPr/>
          <p:nvPr/>
        </p:nvGrpSpPr>
        <p:grpSpPr>
          <a:xfrm rot="0">
            <a:off x="8924290" y="1045210"/>
            <a:ext cx="192405" cy="189230"/>
            <a:chOff x="7097713" y="3538538"/>
            <a:chExt cx="790575" cy="776287"/>
          </a:xfrm>
          <a:solidFill>
            <a:srgbClr val="06C245"/>
          </a:solidFill>
        </p:grpSpPr>
        <p:sp>
          <p:nvSpPr>
            <p:cNvPr id="174" name="Freeform 62"/>
            <p:cNvSpPr/>
            <p:nvPr/>
          </p:nvSpPr>
          <p:spPr bwMode="auto">
            <a:xfrm>
              <a:off x="7389813" y="3694113"/>
              <a:ext cx="57150" cy="109537"/>
            </a:xfrm>
            <a:custGeom>
              <a:avLst/>
              <a:gdLst>
                <a:gd name="T0" fmla="*/ 9 w 15"/>
                <a:gd name="T1" fmla="*/ 0 h 29"/>
                <a:gd name="T2" fmla="*/ 6 w 15"/>
                <a:gd name="T3" fmla="*/ 0 h 29"/>
                <a:gd name="T4" fmla="*/ 0 w 15"/>
                <a:gd name="T5" fmla="*/ 5 h 29"/>
                <a:gd name="T6" fmla="*/ 0 w 15"/>
                <a:gd name="T7" fmla="*/ 29 h 29"/>
                <a:gd name="T8" fmla="*/ 15 w 15"/>
                <a:gd name="T9" fmla="*/ 29 h 29"/>
                <a:gd name="T10" fmla="*/ 15 w 15"/>
                <a:gd name="T11" fmla="*/ 5 h 29"/>
                <a:gd name="T12" fmla="*/ 9 w 15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9">
                  <a:moveTo>
                    <a:pt x="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2"/>
                    <a:pt x="12" y="0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75" name="Freeform 63"/>
            <p:cNvSpPr/>
            <p:nvPr/>
          </p:nvSpPr>
          <p:spPr bwMode="auto">
            <a:xfrm>
              <a:off x="7539038" y="3694113"/>
              <a:ext cx="55563" cy="109537"/>
            </a:xfrm>
            <a:custGeom>
              <a:avLst/>
              <a:gdLst>
                <a:gd name="T0" fmla="*/ 9 w 15"/>
                <a:gd name="T1" fmla="*/ 0 h 29"/>
                <a:gd name="T2" fmla="*/ 6 w 15"/>
                <a:gd name="T3" fmla="*/ 0 h 29"/>
                <a:gd name="T4" fmla="*/ 0 w 15"/>
                <a:gd name="T5" fmla="*/ 5 h 29"/>
                <a:gd name="T6" fmla="*/ 0 w 15"/>
                <a:gd name="T7" fmla="*/ 29 h 29"/>
                <a:gd name="T8" fmla="*/ 15 w 15"/>
                <a:gd name="T9" fmla="*/ 29 h 29"/>
                <a:gd name="T10" fmla="*/ 15 w 15"/>
                <a:gd name="T11" fmla="*/ 5 h 29"/>
                <a:gd name="T12" fmla="*/ 9 w 15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9">
                  <a:moveTo>
                    <a:pt x="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2"/>
                    <a:pt x="12" y="0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76" name="Freeform 64"/>
            <p:cNvSpPr/>
            <p:nvPr/>
          </p:nvSpPr>
          <p:spPr bwMode="auto">
            <a:xfrm>
              <a:off x="7097713" y="3538538"/>
              <a:ext cx="790575" cy="776287"/>
            </a:xfrm>
            <a:custGeom>
              <a:avLst/>
              <a:gdLst>
                <a:gd name="T0" fmla="*/ 104 w 208"/>
                <a:gd name="T1" fmla="*/ 0 h 204"/>
                <a:gd name="T2" fmla="*/ 0 w 208"/>
                <a:gd name="T3" fmla="*/ 104 h 204"/>
                <a:gd name="T4" fmla="*/ 30 w 208"/>
                <a:gd name="T5" fmla="*/ 178 h 204"/>
                <a:gd name="T6" fmla="*/ 72 w 208"/>
                <a:gd name="T7" fmla="*/ 203 h 204"/>
                <a:gd name="T8" fmla="*/ 75 w 208"/>
                <a:gd name="T9" fmla="*/ 204 h 204"/>
                <a:gd name="T10" fmla="*/ 84 w 208"/>
                <a:gd name="T11" fmla="*/ 197 h 204"/>
                <a:gd name="T12" fmla="*/ 78 w 208"/>
                <a:gd name="T13" fmla="*/ 184 h 204"/>
                <a:gd name="T14" fmla="*/ 45 w 208"/>
                <a:gd name="T15" fmla="*/ 163 h 204"/>
                <a:gd name="T16" fmla="*/ 20 w 208"/>
                <a:gd name="T17" fmla="*/ 104 h 204"/>
                <a:gd name="T18" fmla="*/ 104 w 208"/>
                <a:gd name="T19" fmla="*/ 20 h 204"/>
                <a:gd name="T20" fmla="*/ 188 w 208"/>
                <a:gd name="T21" fmla="*/ 104 h 204"/>
                <a:gd name="T22" fmla="*/ 163 w 208"/>
                <a:gd name="T23" fmla="*/ 164 h 204"/>
                <a:gd name="T24" fmla="*/ 133 w 208"/>
                <a:gd name="T25" fmla="*/ 180 h 204"/>
                <a:gd name="T26" fmla="*/ 122 w 208"/>
                <a:gd name="T27" fmla="*/ 175 h 204"/>
                <a:gd name="T28" fmla="*/ 113 w 208"/>
                <a:gd name="T29" fmla="*/ 140 h 204"/>
                <a:gd name="T30" fmla="*/ 145 w 208"/>
                <a:gd name="T31" fmla="*/ 107 h 204"/>
                <a:gd name="T32" fmla="*/ 145 w 208"/>
                <a:gd name="T33" fmla="*/ 76 h 204"/>
                <a:gd name="T34" fmla="*/ 63 w 208"/>
                <a:gd name="T35" fmla="*/ 76 h 204"/>
                <a:gd name="T36" fmla="*/ 63 w 208"/>
                <a:gd name="T37" fmla="*/ 107 h 204"/>
                <a:gd name="T38" fmla="*/ 93 w 208"/>
                <a:gd name="T39" fmla="*/ 140 h 204"/>
                <a:gd name="T40" fmla="*/ 107 w 208"/>
                <a:gd name="T41" fmla="*/ 189 h 204"/>
                <a:gd name="T42" fmla="*/ 133 w 208"/>
                <a:gd name="T43" fmla="*/ 200 h 204"/>
                <a:gd name="T44" fmla="*/ 177 w 208"/>
                <a:gd name="T45" fmla="*/ 178 h 204"/>
                <a:gd name="T46" fmla="*/ 177 w 208"/>
                <a:gd name="T47" fmla="*/ 178 h 204"/>
                <a:gd name="T48" fmla="*/ 208 w 208"/>
                <a:gd name="T49" fmla="*/ 104 h 204"/>
                <a:gd name="T50" fmla="*/ 104 w 208"/>
                <a:gd name="T51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8" h="204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32"/>
                    <a:pt x="11" y="158"/>
                    <a:pt x="30" y="178"/>
                  </a:cubicBezTo>
                  <a:cubicBezTo>
                    <a:pt x="42" y="189"/>
                    <a:pt x="56" y="198"/>
                    <a:pt x="72" y="203"/>
                  </a:cubicBezTo>
                  <a:cubicBezTo>
                    <a:pt x="73" y="203"/>
                    <a:pt x="74" y="204"/>
                    <a:pt x="75" y="204"/>
                  </a:cubicBezTo>
                  <a:cubicBezTo>
                    <a:pt x="79" y="204"/>
                    <a:pt x="83" y="201"/>
                    <a:pt x="84" y="197"/>
                  </a:cubicBezTo>
                  <a:cubicBezTo>
                    <a:pt x="86" y="191"/>
                    <a:pt x="83" y="186"/>
                    <a:pt x="78" y="184"/>
                  </a:cubicBezTo>
                  <a:cubicBezTo>
                    <a:pt x="65" y="180"/>
                    <a:pt x="54" y="173"/>
                    <a:pt x="45" y="163"/>
                  </a:cubicBezTo>
                  <a:cubicBezTo>
                    <a:pt x="29" y="148"/>
                    <a:pt x="20" y="127"/>
                    <a:pt x="20" y="104"/>
                  </a:cubicBezTo>
                  <a:cubicBezTo>
                    <a:pt x="20" y="58"/>
                    <a:pt x="58" y="20"/>
                    <a:pt x="104" y="20"/>
                  </a:cubicBezTo>
                  <a:cubicBezTo>
                    <a:pt x="150" y="20"/>
                    <a:pt x="188" y="58"/>
                    <a:pt x="188" y="104"/>
                  </a:cubicBezTo>
                  <a:cubicBezTo>
                    <a:pt x="188" y="127"/>
                    <a:pt x="179" y="148"/>
                    <a:pt x="163" y="164"/>
                  </a:cubicBezTo>
                  <a:cubicBezTo>
                    <a:pt x="157" y="169"/>
                    <a:pt x="142" y="180"/>
                    <a:pt x="133" y="180"/>
                  </a:cubicBezTo>
                  <a:cubicBezTo>
                    <a:pt x="128" y="180"/>
                    <a:pt x="125" y="179"/>
                    <a:pt x="122" y="175"/>
                  </a:cubicBezTo>
                  <a:cubicBezTo>
                    <a:pt x="115" y="167"/>
                    <a:pt x="113" y="151"/>
                    <a:pt x="113" y="140"/>
                  </a:cubicBezTo>
                  <a:cubicBezTo>
                    <a:pt x="131" y="139"/>
                    <a:pt x="145" y="125"/>
                    <a:pt x="145" y="107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124"/>
                    <a:pt x="77" y="139"/>
                    <a:pt x="93" y="140"/>
                  </a:cubicBezTo>
                  <a:cubicBezTo>
                    <a:pt x="93" y="153"/>
                    <a:pt x="95" y="175"/>
                    <a:pt x="107" y="189"/>
                  </a:cubicBezTo>
                  <a:cubicBezTo>
                    <a:pt x="114" y="196"/>
                    <a:pt x="123" y="200"/>
                    <a:pt x="133" y="200"/>
                  </a:cubicBezTo>
                  <a:cubicBezTo>
                    <a:pt x="152" y="200"/>
                    <a:pt x="174" y="180"/>
                    <a:pt x="177" y="178"/>
                  </a:cubicBezTo>
                  <a:cubicBezTo>
                    <a:pt x="177" y="178"/>
                    <a:pt x="177" y="178"/>
                    <a:pt x="177" y="178"/>
                  </a:cubicBezTo>
                  <a:cubicBezTo>
                    <a:pt x="197" y="158"/>
                    <a:pt x="208" y="132"/>
                    <a:pt x="208" y="104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grpSp>
        <p:nvGrpSpPr>
          <p:cNvPr id="177" name="组合 176"/>
          <p:cNvGrpSpPr/>
          <p:nvPr/>
        </p:nvGrpSpPr>
        <p:grpSpPr>
          <a:xfrm rot="0">
            <a:off x="7977505" y="1480820"/>
            <a:ext cx="192405" cy="189230"/>
            <a:chOff x="7097713" y="3538538"/>
            <a:chExt cx="790575" cy="776287"/>
          </a:xfrm>
          <a:solidFill>
            <a:srgbClr val="06C245"/>
          </a:solidFill>
        </p:grpSpPr>
        <p:sp>
          <p:nvSpPr>
            <p:cNvPr id="178" name="Freeform 62"/>
            <p:cNvSpPr/>
            <p:nvPr/>
          </p:nvSpPr>
          <p:spPr bwMode="auto">
            <a:xfrm>
              <a:off x="7389813" y="3694113"/>
              <a:ext cx="57150" cy="109537"/>
            </a:xfrm>
            <a:custGeom>
              <a:avLst/>
              <a:gdLst>
                <a:gd name="T0" fmla="*/ 9 w 15"/>
                <a:gd name="T1" fmla="*/ 0 h 29"/>
                <a:gd name="T2" fmla="*/ 6 w 15"/>
                <a:gd name="T3" fmla="*/ 0 h 29"/>
                <a:gd name="T4" fmla="*/ 0 w 15"/>
                <a:gd name="T5" fmla="*/ 5 h 29"/>
                <a:gd name="T6" fmla="*/ 0 w 15"/>
                <a:gd name="T7" fmla="*/ 29 h 29"/>
                <a:gd name="T8" fmla="*/ 15 w 15"/>
                <a:gd name="T9" fmla="*/ 29 h 29"/>
                <a:gd name="T10" fmla="*/ 15 w 15"/>
                <a:gd name="T11" fmla="*/ 5 h 29"/>
                <a:gd name="T12" fmla="*/ 9 w 15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9">
                  <a:moveTo>
                    <a:pt x="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2"/>
                    <a:pt x="12" y="0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79" name="Freeform 63"/>
            <p:cNvSpPr/>
            <p:nvPr/>
          </p:nvSpPr>
          <p:spPr bwMode="auto">
            <a:xfrm>
              <a:off x="7539038" y="3694113"/>
              <a:ext cx="55563" cy="109537"/>
            </a:xfrm>
            <a:custGeom>
              <a:avLst/>
              <a:gdLst>
                <a:gd name="T0" fmla="*/ 9 w 15"/>
                <a:gd name="T1" fmla="*/ 0 h 29"/>
                <a:gd name="T2" fmla="*/ 6 w 15"/>
                <a:gd name="T3" fmla="*/ 0 h 29"/>
                <a:gd name="T4" fmla="*/ 0 w 15"/>
                <a:gd name="T5" fmla="*/ 5 h 29"/>
                <a:gd name="T6" fmla="*/ 0 w 15"/>
                <a:gd name="T7" fmla="*/ 29 h 29"/>
                <a:gd name="T8" fmla="*/ 15 w 15"/>
                <a:gd name="T9" fmla="*/ 29 h 29"/>
                <a:gd name="T10" fmla="*/ 15 w 15"/>
                <a:gd name="T11" fmla="*/ 5 h 29"/>
                <a:gd name="T12" fmla="*/ 9 w 15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9">
                  <a:moveTo>
                    <a:pt x="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2"/>
                    <a:pt x="12" y="0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80" name="Freeform 64"/>
            <p:cNvSpPr/>
            <p:nvPr/>
          </p:nvSpPr>
          <p:spPr bwMode="auto">
            <a:xfrm>
              <a:off x="7097713" y="3538538"/>
              <a:ext cx="790575" cy="776287"/>
            </a:xfrm>
            <a:custGeom>
              <a:avLst/>
              <a:gdLst>
                <a:gd name="T0" fmla="*/ 104 w 208"/>
                <a:gd name="T1" fmla="*/ 0 h 204"/>
                <a:gd name="T2" fmla="*/ 0 w 208"/>
                <a:gd name="T3" fmla="*/ 104 h 204"/>
                <a:gd name="T4" fmla="*/ 30 w 208"/>
                <a:gd name="T5" fmla="*/ 178 h 204"/>
                <a:gd name="T6" fmla="*/ 72 w 208"/>
                <a:gd name="T7" fmla="*/ 203 h 204"/>
                <a:gd name="T8" fmla="*/ 75 w 208"/>
                <a:gd name="T9" fmla="*/ 204 h 204"/>
                <a:gd name="T10" fmla="*/ 84 w 208"/>
                <a:gd name="T11" fmla="*/ 197 h 204"/>
                <a:gd name="T12" fmla="*/ 78 w 208"/>
                <a:gd name="T13" fmla="*/ 184 h 204"/>
                <a:gd name="T14" fmla="*/ 45 w 208"/>
                <a:gd name="T15" fmla="*/ 163 h 204"/>
                <a:gd name="T16" fmla="*/ 20 w 208"/>
                <a:gd name="T17" fmla="*/ 104 h 204"/>
                <a:gd name="T18" fmla="*/ 104 w 208"/>
                <a:gd name="T19" fmla="*/ 20 h 204"/>
                <a:gd name="T20" fmla="*/ 188 w 208"/>
                <a:gd name="T21" fmla="*/ 104 h 204"/>
                <a:gd name="T22" fmla="*/ 163 w 208"/>
                <a:gd name="T23" fmla="*/ 164 h 204"/>
                <a:gd name="T24" fmla="*/ 133 w 208"/>
                <a:gd name="T25" fmla="*/ 180 h 204"/>
                <a:gd name="T26" fmla="*/ 122 w 208"/>
                <a:gd name="T27" fmla="*/ 175 h 204"/>
                <a:gd name="T28" fmla="*/ 113 w 208"/>
                <a:gd name="T29" fmla="*/ 140 h 204"/>
                <a:gd name="T30" fmla="*/ 145 w 208"/>
                <a:gd name="T31" fmla="*/ 107 h 204"/>
                <a:gd name="T32" fmla="*/ 145 w 208"/>
                <a:gd name="T33" fmla="*/ 76 h 204"/>
                <a:gd name="T34" fmla="*/ 63 w 208"/>
                <a:gd name="T35" fmla="*/ 76 h 204"/>
                <a:gd name="T36" fmla="*/ 63 w 208"/>
                <a:gd name="T37" fmla="*/ 107 h 204"/>
                <a:gd name="T38" fmla="*/ 93 w 208"/>
                <a:gd name="T39" fmla="*/ 140 h 204"/>
                <a:gd name="T40" fmla="*/ 107 w 208"/>
                <a:gd name="T41" fmla="*/ 189 h 204"/>
                <a:gd name="T42" fmla="*/ 133 w 208"/>
                <a:gd name="T43" fmla="*/ 200 h 204"/>
                <a:gd name="T44" fmla="*/ 177 w 208"/>
                <a:gd name="T45" fmla="*/ 178 h 204"/>
                <a:gd name="T46" fmla="*/ 177 w 208"/>
                <a:gd name="T47" fmla="*/ 178 h 204"/>
                <a:gd name="T48" fmla="*/ 208 w 208"/>
                <a:gd name="T49" fmla="*/ 104 h 204"/>
                <a:gd name="T50" fmla="*/ 104 w 208"/>
                <a:gd name="T51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8" h="204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32"/>
                    <a:pt x="11" y="158"/>
                    <a:pt x="30" y="178"/>
                  </a:cubicBezTo>
                  <a:cubicBezTo>
                    <a:pt x="42" y="189"/>
                    <a:pt x="56" y="198"/>
                    <a:pt x="72" y="203"/>
                  </a:cubicBezTo>
                  <a:cubicBezTo>
                    <a:pt x="73" y="203"/>
                    <a:pt x="74" y="204"/>
                    <a:pt x="75" y="204"/>
                  </a:cubicBezTo>
                  <a:cubicBezTo>
                    <a:pt x="79" y="204"/>
                    <a:pt x="83" y="201"/>
                    <a:pt x="84" y="197"/>
                  </a:cubicBezTo>
                  <a:cubicBezTo>
                    <a:pt x="86" y="191"/>
                    <a:pt x="83" y="186"/>
                    <a:pt x="78" y="184"/>
                  </a:cubicBezTo>
                  <a:cubicBezTo>
                    <a:pt x="65" y="180"/>
                    <a:pt x="54" y="173"/>
                    <a:pt x="45" y="163"/>
                  </a:cubicBezTo>
                  <a:cubicBezTo>
                    <a:pt x="29" y="148"/>
                    <a:pt x="20" y="127"/>
                    <a:pt x="20" y="104"/>
                  </a:cubicBezTo>
                  <a:cubicBezTo>
                    <a:pt x="20" y="58"/>
                    <a:pt x="58" y="20"/>
                    <a:pt x="104" y="20"/>
                  </a:cubicBezTo>
                  <a:cubicBezTo>
                    <a:pt x="150" y="20"/>
                    <a:pt x="188" y="58"/>
                    <a:pt x="188" y="104"/>
                  </a:cubicBezTo>
                  <a:cubicBezTo>
                    <a:pt x="188" y="127"/>
                    <a:pt x="179" y="148"/>
                    <a:pt x="163" y="164"/>
                  </a:cubicBezTo>
                  <a:cubicBezTo>
                    <a:pt x="157" y="169"/>
                    <a:pt x="142" y="180"/>
                    <a:pt x="133" y="180"/>
                  </a:cubicBezTo>
                  <a:cubicBezTo>
                    <a:pt x="128" y="180"/>
                    <a:pt x="125" y="179"/>
                    <a:pt x="122" y="175"/>
                  </a:cubicBezTo>
                  <a:cubicBezTo>
                    <a:pt x="115" y="167"/>
                    <a:pt x="113" y="151"/>
                    <a:pt x="113" y="140"/>
                  </a:cubicBezTo>
                  <a:cubicBezTo>
                    <a:pt x="131" y="139"/>
                    <a:pt x="145" y="125"/>
                    <a:pt x="145" y="107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124"/>
                    <a:pt x="77" y="139"/>
                    <a:pt x="93" y="140"/>
                  </a:cubicBezTo>
                  <a:cubicBezTo>
                    <a:pt x="93" y="153"/>
                    <a:pt x="95" y="175"/>
                    <a:pt x="107" y="189"/>
                  </a:cubicBezTo>
                  <a:cubicBezTo>
                    <a:pt x="114" y="196"/>
                    <a:pt x="123" y="200"/>
                    <a:pt x="133" y="200"/>
                  </a:cubicBezTo>
                  <a:cubicBezTo>
                    <a:pt x="152" y="200"/>
                    <a:pt x="174" y="180"/>
                    <a:pt x="177" y="178"/>
                  </a:cubicBezTo>
                  <a:cubicBezTo>
                    <a:pt x="177" y="178"/>
                    <a:pt x="177" y="178"/>
                    <a:pt x="177" y="178"/>
                  </a:cubicBezTo>
                  <a:cubicBezTo>
                    <a:pt x="197" y="158"/>
                    <a:pt x="208" y="132"/>
                    <a:pt x="208" y="104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grpSp>
        <p:nvGrpSpPr>
          <p:cNvPr id="181" name="组合 180"/>
          <p:cNvGrpSpPr/>
          <p:nvPr/>
        </p:nvGrpSpPr>
        <p:grpSpPr>
          <a:xfrm rot="0">
            <a:off x="9693275" y="2154555"/>
            <a:ext cx="192405" cy="189230"/>
            <a:chOff x="7097713" y="3538538"/>
            <a:chExt cx="790575" cy="776287"/>
          </a:xfrm>
          <a:solidFill>
            <a:srgbClr val="06C245"/>
          </a:solidFill>
        </p:grpSpPr>
        <p:sp>
          <p:nvSpPr>
            <p:cNvPr id="182" name="Freeform 62"/>
            <p:cNvSpPr/>
            <p:nvPr/>
          </p:nvSpPr>
          <p:spPr bwMode="auto">
            <a:xfrm>
              <a:off x="7389813" y="3694113"/>
              <a:ext cx="57150" cy="109537"/>
            </a:xfrm>
            <a:custGeom>
              <a:avLst/>
              <a:gdLst>
                <a:gd name="T0" fmla="*/ 9 w 15"/>
                <a:gd name="T1" fmla="*/ 0 h 29"/>
                <a:gd name="T2" fmla="*/ 6 w 15"/>
                <a:gd name="T3" fmla="*/ 0 h 29"/>
                <a:gd name="T4" fmla="*/ 0 w 15"/>
                <a:gd name="T5" fmla="*/ 5 h 29"/>
                <a:gd name="T6" fmla="*/ 0 w 15"/>
                <a:gd name="T7" fmla="*/ 29 h 29"/>
                <a:gd name="T8" fmla="*/ 15 w 15"/>
                <a:gd name="T9" fmla="*/ 29 h 29"/>
                <a:gd name="T10" fmla="*/ 15 w 15"/>
                <a:gd name="T11" fmla="*/ 5 h 29"/>
                <a:gd name="T12" fmla="*/ 9 w 15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9">
                  <a:moveTo>
                    <a:pt x="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2"/>
                    <a:pt x="12" y="0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83" name="Freeform 63"/>
            <p:cNvSpPr/>
            <p:nvPr/>
          </p:nvSpPr>
          <p:spPr bwMode="auto">
            <a:xfrm>
              <a:off x="7539038" y="3694113"/>
              <a:ext cx="55563" cy="109537"/>
            </a:xfrm>
            <a:custGeom>
              <a:avLst/>
              <a:gdLst>
                <a:gd name="T0" fmla="*/ 9 w 15"/>
                <a:gd name="T1" fmla="*/ 0 h 29"/>
                <a:gd name="T2" fmla="*/ 6 w 15"/>
                <a:gd name="T3" fmla="*/ 0 h 29"/>
                <a:gd name="T4" fmla="*/ 0 w 15"/>
                <a:gd name="T5" fmla="*/ 5 h 29"/>
                <a:gd name="T6" fmla="*/ 0 w 15"/>
                <a:gd name="T7" fmla="*/ 29 h 29"/>
                <a:gd name="T8" fmla="*/ 15 w 15"/>
                <a:gd name="T9" fmla="*/ 29 h 29"/>
                <a:gd name="T10" fmla="*/ 15 w 15"/>
                <a:gd name="T11" fmla="*/ 5 h 29"/>
                <a:gd name="T12" fmla="*/ 9 w 15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9">
                  <a:moveTo>
                    <a:pt x="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2"/>
                    <a:pt x="12" y="0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84" name="Freeform 64"/>
            <p:cNvSpPr/>
            <p:nvPr/>
          </p:nvSpPr>
          <p:spPr bwMode="auto">
            <a:xfrm>
              <a:off x="7097713" y="3538538"/>
              <a:ext cx="790575" cy="776287"/>
            </a:xfrm>
            <a:custGeom>
              <a:avLst/>
              <a:gdLst>
                <a:gd name="T0" fmla="*/ 104 w 208"/>
                <a:gd name="T1" fmla="*/ 0 h 204"/>
                <a:gd name="T2" fmla="*/ 0 w 208"/>
                <a:gd name="T3" fmla="*/ 104 h 204"/>
                <a:gd name="T4" fmla="*/ 30 w 208"/>
                <a:gd name="T5" fmla="*/ 178 h 204"/>
                <a:gd name="T6" fmla="*/ 72 w 208"/>
                <a:gd name="T7" fmla="*/ 203 h 204"/>
                <a:gd name="T8" fmla="*/ 75 w 208"/>
                <a:gd name="T9" fmla="*/ 204 h 204"/>
                <a:gd name="T10" fmla="*/ 84 w 208"/>
                <a:gd name="T11" fmla="*/ 197 h 204"/>
                <a:gd name="T12" fmla="*/ 78 w 208"/>
                <a:gd name="T13" fmla="*/ 184 h 204"/>
                <a:gd name="T14" fmla="*/ 45 w 208"/>
                <a:gd name="T15" fmla="*/ 163 h 204"/>
                <a:gd name="T16" fmla="*/ 20 w 208"/>
                <a:gd name="T17" fmla="*/ 104 h 204"/>
                <a:gd name="T18" fmla="*/ 104 w 208"/>
                <a:gd name="T19" fmla="*/ 20 h 204"/>
                <a:gd name="T20" fmla="*/ 188 w 208"/>
                <a:gd name="T21" fmla="*/ 104 h 204"/>
                <a:gd name="T22" fmla="*/ 163 w 208"/>
                <a:gd name="T23" fmla="*/ 164 h 204"/>
                <a:gd name="T24" fmla="*/ 133 w 208"/>
                <a:gd name="T25" fmla="*/ 180 h 204"/>
                <a:gd name="T26" fmla="*/ 122 w 208"/>
                <a:gd name="T27" fmla="*/ 175 h 204"/>
                <a:gd name="T28" fmla="*/ 113 w 208"/>
                <a:gd name="T29" fmla="*/ 140 h 204"/>
                <a:gd name="T30" fmla="*/ 145 w 208"/>
                <a:gd name="T31" fmla="*/ 107 h 204"/>
                <a:gd name="T32" fmla="*/ 145 w 208"/>
                <a:gd name="T33" fmla="*/ 76 h 204"/>
                <a:gd name="T34" fmla="*/ 63 w 208"/>
                <a:gd name="T35" fmla="*/ 76 h 204"/>
                <a:gd name="T36" fmla="*/ 63 w 208"/>
                <a:gd name="T37" fmla="*/ 107 h 204"/>
                <a:gd name="T38" fmla="*/ 93 w 208"/>
                <a:gd name="T39" fmla="*/ 140 h 204"/>
                <a:gd name="T40" fmla="*/ 107 w 208"/>
                <a:gd name="T41" fmla="*/ 189 h 204"/>
                <a:gd name="T42" fmla="*/ 133 w 208"/>
                <a:gd name="T43" fmla="*/ 200 h 204"/>
                <a:gd name="T44" fmla="*/ 177 w 208"/>
                <a:gd name="T45" fmla="*/ 178 h 204"/>
                <a:gd name="T46" fmla="*/ 177 w 208"/>
                <a:gd name="T47" fmla="*/ 178 h 204"/>
                <a:gd name="T48" fmla="*/ 208 w 208"/>
                <a:gd name="T49" fmla="*/ 104 h 204"/>
                <a:gd name="T50" fmla="*/ 104 w 208"/>
                <a:gd name="T51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8" h="204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32"/>
                    <a:pt x="11" y="158"/>
                    <a:pt x="30" y="178"/>
                  </a:cubicBezTo>
                  <a:cubicBezTo>
                    <a:pt x="42" y="189"/>
                    <a:pt x="56" y="198"/>
                    <a:pt x="72" y="203"/>
                  </a:cubicBezTo>
                  <a:cubicBezTo>
                    <a:pt x="73" y="203"/>
                    <a:pt x="74" y="204"/>
                    <a:pt x="75" y="204"/>
                  </a:cubicBezTo>
                  <a:cubicBezTo>
                    <a:pt x="79" y="204"/>
                    <a:pt x="83" y="201"/>
                    <a:pt x="84" y="197"/>
                  </a:cubicBezTo>
                  <a:cubicBezTo>
                    <a:pt x="86" y="191"/>
                    <a:pt x="83" y="186"/>
                    <a:pt x="78" y="184"/>
                  </a:cubicBezTo>
                  <a:cubicBezTo>
                    <a:pt x="65" y="180"/>
                    <a:pt x="54" y="173"/>
                    <a:pt x="45" y="163"/>
                  </a:cubicBezTo>
                  <a:cubicBezTo>
                    <a:pt x="29" y="148"/>
                    <a:pt x="20" y="127"/>
                    <a:pt x="20" y="104"/>
                  </a:cubicBezTo>
                  <a:cubicBezTo>
                    <a:pt x="20" y="58"/>
                    <a:pt x="58" y="20"/>
                    <a:pt x="104" y="20"/>
                  </a:cubicBezTo>
                  <a:cubicBezTo>
                    <a:pt x="150" y="20"/>
                    <a:pt x="188" y="58"/>
                    <a:pt x="188" y="104"/>
                  </a:cubicBezTo>
                  <a:cubicBezTo>
                    <a:pt x="188" y="127"/>
                    <a:pt x="179" y="148"/>
                    <a:pt x="163" y="164"/>
                  </a:cubicBezTo>
                  <a:cubicBezTo>
                    <a:pt x="157" y="169"/>
                    <a:pt x="142" y="180"/>
                    <a:pt x="133" y="180"/>
                  </a:cubicBezTo>
                  <a:cubicBezTo>
                    <a:pt x="128" y="180"/>
                    <a:pt x="125" y="179"/>
                    <a:pt x="122" y="175"/>
                  </a:cubicBezTo>
                  <a:cubicBezTo>
                    <a:pt x="115" y="167"/>
                    <a:pt x="113" y="151"/>
                    <a:pt x="113" y="140"/>
                  </a:cubicBezTo>
                  <a:cubicBezTo>
                    <a:pt x="131" y="139"/>
                    <a:pt x="145" y="125"/>
                    <a:pt x="145" y="107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124"/>
                    <a:pt x="77" y="139"/>
                    <a:pt x="93" y="140"/>
                  </a:cubicBezTo>
                  <a:cubicBezTo>
                    <a:pt x="93" y="153"/>
                    <a:pt x="95" y="175"/>
                    <a:pt x="107" y="189"/>
                  </a:cubicBezTo>
                  <a:cubicBezTo>
                    <a:pt x="114" y="196"/>
                    <a:pt x="123" y="200"/>
                    <a:pt x="133" y="200"/>
                  </a:cubicBezTo>
                  <a:cubicBezTo>
                    <a:pt x="152" y="200"/>
                    <a:pt x="174" y="180"/>
                    <a:pt x="177" y="178"/>
                  </a:cubicBezTo>
                  <a:cubicBezTo>
                    <a:pt x="177" y="178"/>
                    <a:pt x="177" y="178"/>
                    <a:pt x="177" y="178"/>
                  </a:cubicBezTo>
                  <a:cubicBezTo>
                    <a:pt x="197" y="158"/>
                    <a:pt x="208" y="132"/>
                    <a:pt x="208" y="104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grpSp>
        <p:nvGrpSpPr>
          <p:cNvPr id="185" name="组合 184"/>
          <p:cNvGrpSpPr/>
          <p:nvPr/>
        </p:nvGrpSpPr>
        <p:grpSpPr>
          <a:xfrm rot="0">
            <a:off x="9151620" y="4149090"/>
            <a:ext cx="192405" cy="189230"/>
            <a:chOff x="7097713" y="3538538"/>
            <a:chExt cx="790575" cy="776287"/>
          </a:xfrm>
          <a:solidFill>
            <a:srgbClr val="06C245"/>
          </a:solidFill>
        </p:grpSpPr>
        <p:sp>
          <p:nvSpPr>
            <p:cNvPr id="186" name="Freeform 62"/>
            <p:cNvSpPr/>
            <p:nvPr/>
          </p:nvSpPr>
          <p:spPr bwMode="auto">
            <a:xfrm>
              <a:off x="7389813" y="3694113"/>
              <a:ext cx="57150" cy="109537"/>
            </a:xfrm>
            <a:custGeom>
              <a:avLst/>
              <a:gdLst>
                <a:gd name="T0" fmla="*/ 9 w 15"/>
                <a:gd name="T1" fmla="*/ 0 h 29"/>
                <a:gd name="T2" fmla="*/ 6 w 15"/>
                <a:gd name="T3" fmla="*/ 0 h 29"/>
                <a:gd name="T4" fmla="*/ 0 w 15"/>
                <a:gd name="T5" fmla="*/ 5 h 29"/>
                <a:gd name="T6" fmla="*/ 0 w 15"/>
                <a:gd name="T7" fmla="*/ 29 h 29"/>
                <a:gd name="T8" fmla="*/ 15 w 15"/>
                <a:gd name="T9" fmla="*/ 29 h 29"/>
                <a:gd name="T10" fmla="*/ 15 w 15"/>
                <a:gd name="T11" fmla="*/ 5 h 29"/>
                <a:gd name="T12" fmla="*/ 9 w 15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9">
                  <a:moveTo>
                    <a:pt x="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2"/>
                    <a:pt x="12" y="0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87" name="Freeform 63"/>
            <p:cNvSpPr/>
            <p:nvPr/>
          </p:nvSpPr>
          <p:spPr bwMode="auto">
            <a:xfrm>
              <a:off x="7539038" y="3694113"/>
              <a:ext cx="55563" cy="109537"/>
            </a:xfrm>
            <a:custGeom>
              <a:avLst/>
              <a:gdLst>
                <a:gd name="T0" fmla="*/ 9 w 15"/>
                <a:gd name="T1" fmla="*/ 0 h 29"/>
                <a:gd name="T2" fmla="*/ 6 w 15"/>
                <a:gd name="T3" fmla="*/ 0 h 29"/>
                <a:gd name="T4" fmla="*/ 0 w 15"/>
                <a:gd name="T5" fmla="*/ 5 h 29"/>
                <a:gd name="T6" fmla="*/ 0 w 15"/>
                <a:gd name="T7" fmla="*/ 29 h 29"/>
                <a:gd name="T8" fmla="*/ 15 w 15"/>
                <a:gd name="T9" fmla="*/ 29 h 29"/>
                <a:gd name="T10" fmla="*/ 15 w 15"/>
                <a:gd name="T11" fmla="*/ 5 h 29"/>
                <a:gd name="T12" fmla="*/ 9 w 15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9">
                  <a:moveTo>
                    <a:pt x="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2"/>
                    <a:pt x="12" y="0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88" name="Freeform 64"/>
            <p:cNvSpPr/>
            <p:nvPr/>
          </p:nvSpPr>
          <p:spPr bwMode="auto">
            <a:xfrm>
              <a:off x="7097713" y="3538538"/>
              <a:ext cx="790575" cy="776287"/>
            </a:xfrm>
            <a:custGeom>
              <a:avLst/>
              <a:gdLst>
                <a:gd name="T0" fmla="*/ 104 w 208"/>
                <a:gd name="T1" fmla="*/ 0 h 204"/>
                <a:gd name="T2" fmla="*/ 0 w 208"/>
                <a:gd name="T3" fmla="*/ 104 h 204"/>
                <a:gd name="T4" fmla="*/ 30 w 208"/>
                <a:gd name="T5" fmla="*/ 178 h 204"/>
                <a:gd name="T6" fmla="*/ 72 w 208"/>
                <a:gd name="T7" fmla="*/ 203 h 204"/>
                <a:gd name="T8" fmla="*/ 75 w 208"/>
                <a:gd name="T9" fmla="*/ 204 h 204"/>
                <a:gd name="T10" fmla="*/ 84 w 208"/>
                <a:gd name="T11" fmla="*/ 197 h 204"/>
                <a:gd name="T12" fmla="*/ 78 w 208"/>
                <a:gd name="T13" fmla="*/ 184 h 204"/>
                <a:gd name="T14" fmla="*/ 45 w 208"/>
                <a:gd name="T15" fmla="*/ 163 h 204"/>
                <a:gd name="T16" fmla="*/ 20 w 208"/>
                <a:gd name="T17" fmla="*/ 104 h 204"/>
                <a:gd name="T18" fmla="*/ 104 w 208"/>
                <a:gd name="T19" fmla="*/ 20 h 204"/>
                <a:gd name="T20" fmla="*/ 188 w 208"/>
                <a:gd name="T21" fmla="*/ 104 h 204"/>
                <a:gd name="T22" fmla="*/ 163 w 208"/>
                <a:gd name="T23" fmla="*/ 164 h 204"/>
                <a:gd name="T24" fmla="*/ 133 w 208"/>
                <a:gd name="T25" fmla="*/ 180 h 204"/>
                <a:gd name="T26" fmla="*/ 122 w 208"/>
                <a:gd name="T27" fmla="*/ 175 h 204"/>
                <a:gd name="T28" fmla="*/ 113 w 208"/>
                <a:gd name="T29" fmla="*/ 140 h 204"/>
                <a:gd name="T30" fmla="*/ 145 w 208"/>
                <a:gd name="T31" fmla="*/ 107 h 204"/>
                <a:gd name="T32" fmla="*/ 145 w 208"/>
                <a:gd name="T33" fmla="*/ 76 h 204"/>
                <a:gd name="T34" fmla="*/ 63 w 208"/>
                <a:gd name="T35" fmla="*/ 76 h 204"/>
                <a:gd name="T36" fmla="*/ 63 w 208"/>
                <a:gd name="T37" fmla="*/ 107 h 204"/>
                <a:gd name="T38" fmla="*/ 93 w 208"/>
                <a:gd name="T39" fmla="*/ 140 h 204"/>
                <a:gd name="T40" fmla="*/ 107 w 208"/>
                <a:gd name="T41" fmla="*/ 189 h 204"/>
                <a:gd name="T42" fmla="*/ 133 w 208"/>
                <a:gd name="T43" fmla="*/ 200 h 204"/>
                <a:gd name="T44" fmla="*/ 177 w 208"/>
                <a:gd name="T45" fmla="*/ 178 h 204"/>
                <a:gd name="T46" fmla="*/ 177 w 208"/>
                <a:gd name="T47" fmla="*/ 178 h 204"/>
                <a:gd name="T48" fmla="*/ 208 w 208"/>
                <a:gd name="T49" fmla="*/ 104 h 204"/>
                <a:gd name="T50" fmla="*/ 104 w 208"/>
                <a:gd name="T51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8" h="204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32"/>
                    <a:pt x="11" y="158"/>
                    <a:pt x="30" y="178"/>
                  </a:cubicBezTo>
                  <a:cubicBezTo>
                    <a:pt x="42" y="189"/>
                    <a:pt x="56" y="198"/>
                    <a:pt x="72" y="203"/>
                  </a:cubicBezTo>
                  <a:cubicBezTo>
                    <a:pt x="73" y="203"/>
                    <a:pt x="74" y="204"/>
                    <a:pt x="75" y="204"/>
                  </a:cubicBezTo>
                  <a:cubicBezTo>
                    <a:pt x="79" y="204"/>
                    <a:pt x="83" y="201"/>
                    <a:pt x="84" y="197"/>
                  </a:cubicBezTo>
                  <a:cubicBezTo>
                    <a:pt x="86" y="191"/>
                    <a:pt x="83" y="186"/>
                    <a:pt x="78" y="184"/>
                  </a:cubicBezTo>
                  <a:cubicBezTo>
                    <a:pt x="65" y="180"/>
                    <a:pt x="54" y="173"/>
                    <a:pt x="45" y="163"/>
                  </a:cubicBezTo>
                  <a:cubicBezTo>
                    <a:pt x="29" y="148"/>
                    <a:pt x="20" y="127"/>
                    <a:pt x="20" y="104"/>
                  </a:cubicBezTo>
                  <a:cubicBezTo>
                    <a:pt x="20" y="58"/>
                    <a:pt x="58" y="20"/>
                    <a:pt x="104" y="20"/>
                  </a:cubicBezTo>
                  <a:cubicBezTo>
                    <a:pt x="150" y="20"/>
                    <a:pt x="188" y="58"/>
                    <a:pt x="188" y="104"/>
                  </a:cubicBezTo>
                  <a:cubicBezTo>
                    <a:pt x="188" y="127"/>
                    <a:pt x="179" y="148"/>
                    <a:pt x="163" y="164"/>
                  </a:cubicBezTo>
                  <a:cubicBezTo>
                    <a:pt x="157" y="169"/>
                    <a:pt x="142" y="180"/>
                    <a:pt x="133" y="180"/>
                  </a:cubicBezTo>
                  <a:cubicBezTo>
                    <a:pt x="128" y="180"/>
                    <a:pt x="125" y="179"/>
                    <a:pt x="122" y="175"/>
                  </a:cubicBezTo>
                  <a:cubicBezTo>
                    <a:pt x="115" y="167"/>
                    <a:pt x="113" y="151"/>
                    <a:pt x="113" y="140"/>
                  </a:cubicBezTo>
                  <a:cubicBezTo>
                    <a:pt x="131" y="139"/>
                    <a:pt x="145" y="125"/>
                    <a:pt x="145" y="107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124"/>
                    <a:pt x="77" y="139"/>
                    <a:pt x="93" y="140"/>
                  </a:cubicBezTo>
                  <a:cubicBezTo>
                    <a:pt x="93" y="153"/>
                    <a:pt x="95" y="175"/>
                    <a:pt x="107" y="189"/>
                  </a:cubicBezTo>
                  <a:cubicBezTo>
                    <a:pt x="114" y="196"/>
                    <a:pt x="123" y="200"/>
                    <a:pt x="133" y="200"/>
                  </a:cubicBezTo>
                  <a:cubicBezTo>
                    <a:pt x="152" y="200"/>
                    <a:pt x="174" y="180"/>
                    <a:pt x="177" y="178"/>
                  </a:cubicBezTo>
                  <a:cubicBezTo>
                    <a:pt x="177" y="178"/>
                    <a:pt x="177" y="178"/>
                    <a:pt x="177" y="178"/>
                  </a:cubicBezTo>
                  <a:cubicBezTo>
                    <a:pt x="197" y="158"/>
                    <a:pt x="208" y="132"/>
                    <a:pt x="208" y="104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grpSp>
        <p:nvGrpSpPr>
          <p:cNvPr id="189" name="组合 188"/>
          <p:cNvGrpSpPr/>
          <p:nvPr/>
        </p:nvGrpSpPr>
        <p:grpSpPr>
          <a:xfrm rot="0">
            <a:off x="9500870" y="3615690"/>
            <a:ext cx="192405" cy="189230"/>
            <a:chOff x="7097713" y="3538538"/>
            <a:chExt cx="790575" cy="776287"/>
          </a:xfrm>
          <a:solidFill>
            <a:srgbClr val="06C245"/>
          </a:solidFill>
        </p:grpSpPr>
        <p:sp>
          <p:nvSpPr>
            <p:cNvPr id="190" name="Freeform 62"/>
            <p:cNvSpPr/>
            <p:nvPr/>
          </p:nvSpPr>
          <p:spPr bwMode="auto">
            <a:xfrm>
              <a:off x="7389813" y="3694113"/>
              <a:ext cx="57150" cy="109537"/>
            </a:xfrm>
            <a:custGeom>
              <a:avLst/>
              <a:gdLst>
                <a:gd name="T0" fmla="*/ 9 w 15"/>
                <a:gd name="T1" fmla="*/ 0 h 29"/>
                <a:gd name="T2" fmla="*/ 6 w 15"/>
                <a:gd name="T3" fmla="*/ 0 h 29"/>
                <a:gd name="T4" fmla="*/ 0 w 15"/>
                <a:gd name="T5" fmla="*/ 5 h 29"/>
                <a:gd name="T6" fmla="*/ 0 w 15"/>
                <a:gd name="T7" fmla="*/ 29 h 29"/>
                <a:gd name="T8" fmla="*/ 15 w 15"/>
                <a:gd name="T9" fmla="*/ 29 h 29"/>
                <a:gd name="T10" fmla="*/ 15 w 15"/>
                <a:gd name="T11" fmla="*/ 5 h 29"/>
                <a:gd name="T12" fmla="*/ 9 w 15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9">
                  <a:moveTo>
                    <a:pt x="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2"/>
                    <a:pt x="12" y="0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1" name="Freeform 63"/>
            <p:cNvSpPr/>
            <p:nvPr/>
          </p:nvSpPr>
          <p:spPr bwMode="auto">
            <a:xfrm>
              <a:off x="7539038" y="3694113"/>
              <a:ext cx="55563" cy="109537"/>
            </a:xfrm>
            <a:custGeom>
              <a:avLst/>
              <a:gdLst>
                <a:gd name="T0" fmla="*/ 9 w 15"/>
                <a:gd name="T1" fmla="*/ 0 h 29"/>
                <a:gd name="T2" fmla="*/ 6 w 15"/>
                <a:gd name="T3" fmla="*/ 0 h 29"/>
                <a:gd name="T4" fmla="*/ 0 w 15"/>
                <a:gd name="T5" fmla="*/ 5 h 29"/>
                <a:gd name="T6" fmla="*/ 0 w 15"/>
                <a:gd name="T7" fmla="*/ 29 h 29"/>
                <a:gd name="T8" fmla="*/ 15 w 15"/>
                <a:gd name="T9" fmla="*/ 29 h 29"/>
                <a:gd name="T10" fmla="*/ 15 w 15"/>
                <a:gd name="T11" fmla="*/ 5 h 29"/>
                <a:gd name="T12" fmla="*/ 9 w 15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9">
                  <a:moveTo>
                    <a:pt x="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2"/>
                    <a:pt x="12" y="0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2" name="Freeform 64"/>
            <p:cNvSpPr/>
            <p:nvPr/>
          </p:nvSpPr>
          <p:spPr bwMode="auto">
            <a:xfrm>
              <a:off x="7097713" y="3538538"/>
              <a:ext cx="790575" cy="776287"/>
            </a:xfrm>
            <a:custGeom>
              <a:avLst/>
              <a:gdLst>
                <a:gd name="T0" fmla="*/ 104 w 208"/>
                <a:gd name="T1" fmla="*/ 0 h 204"/>
                <a:gd name="T2" fmla="*/ 0 w 208"/>
                <a:gd name="T3" fmla="*/ 104 h 204"/>
                <a:gd name="T4" fmla="*/ 30 w 208"/>
                <a:gd name="T5" fmla="*/ 178 h 204"/>
                <a:gd name="T6" fmla="*/ 72 w 208"/>
                <a:gd name="T7" fmla="*/ 203 h 204"/>
                <a:gd name="T8" fmla="*/ 75 w 208"/>
                <a:gd name="T9" fmla="*/ 204 h 204"/>
                <a:gd name="T10" fmla="*/ 84 w 208"/>
                <a:gd name="T11" fmla="*/ 197 h 204"/>
                <a:gd name="T12" fmla="*/ 78 w 208"/>
                <a:gd name="T13" fmla="*/ 184 h 204"/>
                <a:gd name="T14" fmla="*/ 45 w 208"/>
                <a:gd name="T15" fmla="*/ 163 h 204"/>
                <a:gd name="T16" fmla="*/ 20 w 208"/>
                <a:gd name="T17" fmla="*/ 104 h 204"/>
                <a:gd name="T18" fmla="*/ 104 w 208"/>
                <a:gd name="T19" fmla="*/ 20 h 204"/>
                <a:gd name="T20" fmla="*/ 188 w 208"/>
                <a:gd name="T21" fmla="*/ 104 h 204"/>
                <a:gd name="T22" fmla="*/ 163 w 208"/>
                <a:gd name="T23" fmla="*/ 164 h 204"/>
                <a:gd name="T24" fmla="*/ 133 w 208"/>
                <a:gd name="T25" fmla="*/ 180 h 204"/>
                <a:gd name="T26" fmla="*/ 122 w 208"/>
                <a:gd name="T27" fmla="*/ 175 h 204"/>
                <a:gd name="T28" fmla="*/ 113 w 208"/>
                <a:gd name="T29" fmla="*/ 140 h 204"/>
                <a:gd name="T30" fmla="*/ 145 w 208"/>
                <a:gd name="T31" fmla="*/ 107 h 204"/>
                <a:gd name="T32" fmla="*/ 145 w 208"/>
                <a:gd name="T33" fmla="*/ 76 h 204"/>
                <a:gd name="T34" fmla="*/ 63 w 208"/>
                <a:gd name="T35" fmla="*/ 76 h 204"/>
                <a:gd name="T36" fmla="*/ 63 w 208"/>
                <a:gd name="T37" fmla="*/ 107 h 204"/>
                <a:gd name="T38" fmla="*/ 93 w 208"/>
                <a:gd name="T39" fmla="*/ 140 h 204"/>
                <a:gd name="T40" fmla="*/ 107 w 208"/>
                <a:gd name="T41" fmla="*/ 189 h 204"/>
                <a:gd name="T42" fmla="*/ 133 w 208"/>
                <a:gd name="T43" fmla="*/ 200 h 204"/>
                <a:gd name="T44" fmla="*/ 177 w 208"/>
                <a:gd name="T45" fmla="*/ 178 h 204"/>
                <a:gd name="T46" fmla="*/ 177 w 208"/>
                <a:gd name="T47" fmla="*/ 178 h 204"/>
                <a:gd name="T48" fmla="*/ 208 w 208"/>
                <a:gd name="T49" fmla="*/ 104 h 204"/>
                <a:gd name="T50" fmla="*/ 104 w 208"/>
                <a:gd name="T51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8" h="204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32"/>
                    <a:pt x="11" y="158"/>
                    <a:pt x="30" y="178"/>
                  </a:cubicBezTo>
                  <a:cubicBezTo>
                    <a:pt x="42" y="189"/>
                    <a:pt x="56" y="198"/>
                    <a:pt x="72" y="203"/>
                  </a:cubicBezTo>
                  <a:cubicBezTo>
                    <a:pt x="73" y="203"/>
                    <a:pt x="74" y="204"/>
                    <a:pt x="75" y="204"/>
                  </a:cubicBezTo>
                  <a:cubicBezTo>
                    <a:pt x="79" y="204"/>
                    <a:pt x="83" y="201"/>
                    <a:pt x="84" y="197"/>
                  </a:cubicBezTo>
                  <a:cubicBezTo>
                    <a:pt x="86" y="191"/>
                    <a:pt x="83" y="186"/>
                    <a:pt x="78" y="184"/>
                  </a:cubicBezTo>
                  <a:cubicBezTo>
                    <a:pt x="65" y="180"/>
                    <a:pt x="54" y="173"/>
                    <a:pt x="45" y="163"/>
                  </a:cubicBezTo>
                  <a:cubicBezTo>
                    <a:pt x="29" y="148"/>
                    <a:pt x="20" y="127"/>
                    <a:pt x="20" y="104"/>
                  </a:cubicBezTo>
                  <a:cubicBezTo>
                    <a:pt x="20" y="58"/>
                    <a:pt x="58" y="20"/>
                    <a:pt x="104" y="20"/>
                  </a:cubicBezTo>
                  <a:cubicBezTo>
                    <a:pt x="150" y="20"/>
                    <a:pt x="188" y="58"/>
                    <a:pt x="188" y="104"/>
                  </a:cubicBezTo>
                  <a:cubicBezTo>
                    <a:pt x="188" y="127"/>
                    <a:pt x="179" y="148"/>
                    <a:pt x="163" y="164"/>
                  </a:cubicBezTo>
                  <a:cubicBezTo>
                    <a:pt x="157" y="169"/>
                    <a:pt x="142" y="180"/>
                    <a:pt x="133" y="180"/>
                  </a:cubicBezTo>
                  <a:cubicBezTo>
                    <a:pt x="128" y="180"/>
                    <a:pt x="125" y="179"/>
                    <a:pt x="122" y="175"/>
                  </a:cubicBezTo>
                  <a:cubicBezTo>
                    <a:pt x="115" y="167"/>
                    <a:pt x="113" y="151"/>
                    <a:pt x="113" y="140"/>
                  </a:cubicBezTo>
                  <a:cubicBezTo>
                    <a:pt x="131" y="139"/>
                    <a:pt x="145" y="125"/>
                    <a:pt x="145" y="107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124"/>
                    <a:pt x="77" y="139"/>
                    <a:pt x="93" y="140"/>
                  </a:cubicBezTo>
                  <a:cubicBezTo>
                    <a:pt x="93" y="153"/>
                    <a:pt x="95" y="175"/>
                    <a:pt x="107" y="189"/>
                  </a:cubicBezTo>
                  <a:cubicBezTo>
                    <a:pt x="114" y="196"/>
                    <a:pt x="123" y="200"/>
                    <a:pt x="133" y="200"/>
                  </a:cubicBezTo>
                  <a:cubicBezTo>
                    <a:pt x="152" y="200"/>
                    <a:pt x="174" y="180"/>
                    <a:pt x="177" y="178"/>
                  </a:cubicBezTo>
                  <a:cubicBezTo>
                    <a:pt x="177" y="178"/>
                    <a:pt x="177" y="178"/>
                    <a:pt x="177" y="178"/>
                  </a:cubicBezTo>
                  <a:cubicBezTo>
                    <a:pt x="197" y="158"/>
                    <a:pt x="208" y="132"/>
                    <a:pt x="208" y="104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grpSp>
        <p:nvGrpSpPr>
          <p:cNvPr id="193" name="组合 192"/>
          <p:cNvGrpSpPr/>
          <p:nvPr/>
        </p:nvGrpSpPr>
        <p:grpSpPr>
          <a:xfrm rot="0" flipH="1">
            <a:off x="8936355" y="1290955"/>
            <a:ext cx="177800" cy="177800"/>
            <a:chOff x="4135438" y="2036763"/>
            <a:chExt cx="754062" cy="754062"/>
          </a:xfrm>
          <a:solidFill>
            <a:srgbClr val="DC6E00"/>
          </a:solidFill>
        </p:grpSpPr>
        <p:sp>
          <p:nvSpPr>
            <p:cNvPr id="194" name="Freeform 13"/>
            <p:cNvSpPr/>
            <p:nvPr/>
          </p:nvSpPr>
          <p:spPr bwMode="auto">
            <a:xfrm>
              <a:off x="4135438" y="2203450"/>
              <a:ext cx="258762" cy="320675"/>
            </a:xfrm>
            <a:custGeom>
              <a:avLst/>
              <a:gdLst>
                <a:gd name="T0" fmla="*/ 68 w 68"/>
                <a:gd name="T1" fmla="*/ 84 h 84"/>
                <a:gd name="T2" fmla="*/ 17 w 68"/>
                <a:gd name="T3" fmla="*/ 0 h 84"/>
                <a:gd name="T4" fmla="*/ 0 w 68"/>
                <a:gd name="T5" fmla="*/ 55 h 84"/>
                <a:gd name="T6" fmla="*/ 4 w 68"/>
                <a:gd name="T7" fmla="*/ 84 h 84"/>
                <a:gd name="T8" fmla="*/ 68 w 68"/>
                <a:gd name="T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84">
                  <a:moveTo>
                    <a:pt x="68" y="84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6" y="15"/>
                    <a:pt x="0" y="34"/>
                    <a:pt x="0" y="55"/>
                  </a:cubicBezTo>
                  <a:cubicBezTo>
                    <a:pt x="0" y="65"/>
                    <a:pt x="1" y="75"/>
                    <a:pt x="4" y="84"/>
                  </a:cubicBezTo>
                  <a:lnTo>
                    <a:pt x="68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5" name="Freeform 14"/>
            <p:cNvSpPr/>
            <p:nvPr/>
          </p:nvSpPr>
          <p:spPr bwMode="auto">
            <a:xfrm>
              <a:off x="4475163" y="2043113"/>
              <a:ext cx="381000" cy="209550"/>
            </a:xfrm>
            <a:custGeom>
              <a:avLst/>
              <a:gdLst>
                <a:gd name="T0" fmla="*/ 0 w 100"/>
                <a:gd name="T1" fmla="*/ 55 h 55"/>
                <a:gd name="T2" fmla="*/ 100 w 100"/>
                <a:gd name="T3" fmla="*/ 55 h 55"/>
                <a:gd name="T4" fmla="*/ 32 w 100"/>
                <a:gd name="T5" fmla="*/ 0 h 55"/>
                <a:gd name="T6" fmla="*/ 0 w 100"/>
                <a:gd name="T7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55">
                  <a:moveTo>
                    <a:pt x="0" y="55"/>
                  </a:moveTo>
                  <a:cubicBezTo>
                    <a:pt x="100" y="55"/>
                    <a:pt x="100" y="55"/>
                    <a:pt x="100" y="55"/>
                  </a:cubicBezTo>
                  <a:cubicBezTo>
                    <a:pt x="87" y="28"/>
                    <a:pt x="62" y="7"/>
                    <a:pt x="32" y="0"/>
                  </a:cubicBezTo>
                  <a:lnTo>
                    <a:pt x="0" y="5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6" name="Freeform 15"/>
            <p:cNvSpPr/>
            <p:nvPr/>
          </p:nvSpPr>
          <p:spPr bwMode="auto">
            <a:xfrm>
              <a:off x="4230688" y="2036763"/>
              <a:ext cx="320675" cy="334962"/>
            </a:xfrm>
            <a:custGeom>
              <a:avLst/>
              <a:gdLst>
                <a:gd name="T0" fmla="*/ 32 w 84"/>
                <a:gd name="T1" fmla="*/ 88 h 88"/>
                <a:gd name="T2" fmla="*/ 84 w 84"/>
                <a:gd name="T3" fmla="*/ 0 h 88"/>
                <a:gd name="T4" fmla="*/ 74 w 84"/>
                <a:gd name="T5" fmla="*/ 0 h 88"/>
                <a:gd name="T6" fmla="*/ 0 w 84"/>
                <a:gd name="T7" fmla="*/ 33 h 88"/>
                <a:gd name="T8" fmla="*/ 32 w 84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88">
                  <a:moveTo>
                    <a:pt x="32" y="88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81" y="0"/>
                    <a:pt x="77" y="0"/>
                    <a:pt x="74" y="0"/>
                  </a:cubicBezTo>
                  <a:cubicBezTo>
                    <a:pt x="44" y="0"/>
                    <a:pt x="18" y="13"/>
                    <a:pt x="0" y="33"/>
                  </a:cubicBezTo>
                  <a:lnTo>
                    <a:pt x="32" y="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7" name="Freeform 16"/>
            <p:cNvSpPr/>
            <p:nvPr/>
          </p:nvSpPr>
          <p:spPr bwMode="auto">
            <a:xfrm>
              <a:off x="4170363" y="2570163"/>
              <a:ext cx="381000" cy="215900"/>
            </a:xfrm>
            <a:custGeom>
              <a:avLst/>
              <a:gdLst>
                <a:gd name="T0" fmla="*/ 69 w 100"/>
                <a:gd name="T1" fmla="*/ 55 h 57"/>
                <a:gd name="T2" fmla="*/ 100 w 100"/>
                <a:gd name="T3" fmla="*/ 0 h 57"/>
                <a:gd name="T4" fmla="*/ 0 w 100"/>
                <a:gd name="T5" fmla="*/ 0 h 57"/>
                <a:gd name="T6" fmla="*/ 71 w 100"/>
                <a:gd name="T7" fmla="*/ 57 h 57"/>
                <a:gd name="T8" fmla="*/ 69 w 100"/>
                <a:gd name="T9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57">
                  <a:moveTo>
                    <a:pt x="69" y="55"/>
                  </a:moveTo>
                  <a:cubicBezTo>
                    <a:pt x="100" y="0"/>
                    <a:pt x="100" y="0"/>
                    <a:pt x="10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29"/>
                    <a:pt x="39" y="50"/>
                    <a:pt x="71" y="57"/>
                  </a:cubicBezTo>
                  <a:lnTo>
                    <a:pt x="69" y="5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8" name="Freeform 17"/>
            <p:cNvSpPr/>
            <p:nvPr/>
          </p:nvSpPr>
          <p:spPr bwMode="auto">
            <a:xfrm>
              <a:off x="4630738" y="2298700"/>
              <a:ext cx="258762" cy="331787"/>
            </a:xfrm>
            <a:custGeom>
              <a:avLst/>
              <a:gdLst>
                <a:gd name="T0" fmla="*/ 0 w 68"/>
                <a:gd name="T1" fmla="*/ 0 h 87"/>
                <a:gd name="T2" fmla="*/ 50 w 68"/>
                <a:gd name="T3" fmla="*/ 87 h 87"/>
                <a:gd name="T4" fmla="*/ 68 w 68"/>
                <a:gd name="T5" fmla="*/ 30 h 87"/>
                <a:gd name="T6" fmla="*/ 64 w 68"/>
                <a:gd name="T7" fmla="*/ 0 h 87"/>
                <a:gd name="T8" fmla="*/ 0 w 68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87">
                  <a:moveTo>
                    <a:pt x="0" y="0"/>
                  </a:moveTo>
                  <a:cubicBezTo>
                    <a:pt x="50" y="87"/>
                    <a:pt x="50" y="87"/>
                    <a:pt x="50" y="87"/>
                  </a:cubicBezTo>
                  <a:cubicBezTo>
                    <a:pt x="62" y="71"/>
                    <a:pt x="68" y="51"/>
                    <a:pt x="68" y="30"/>
                  </a:cubicBezTo>
                  <a:cubicBezTo>
                    <a:pt x="68" y="20"/>
                    <a:pt x="67" y="9"/>
                    <a:pt x="6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9" name="Freeform 18"/>
            <p:cNvSpPr/>
            <p:nvPr/>
          </p:nvSpPr>
          <p:spPr bwMode="auto">
            <a:xfrm>
              <a:off x="4478338" y="2459038"/>
              <a:ext cx="312737" cy="331787"/>
            </a:xfrm>
            <a:custGeom>
              <a:avLst/>
              <a:gdLst>
                <a:gd name="T0" fmla="*/ 50 w 82"/>
                <a:gd name="T1" fmla="*/ 0 h 87"/>
                <a:gd name="T2" fmla="*/ 0 w 82"/>
                <a:gd name="T3" fmla="*/ 87 h 87"/>
                <a:gd name="T4" fmla="*/ 9 w 82"/>
                <a:gd name="T5" fmla="*/ 87 h 87"/>
                <a:gd name="T6" fmla="*/ 82 w 82"/>
                <a:gd name="T7" fmla="*/ 55 h 87"/>
                <a:gd name="T8" fmla="*/ 50 w 82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87">
                  <a:moveTo>
                    <a:pt x="50" y="0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3" y="87"/>
                    <a:pt x="6" y="87"/>
                    <a:pt x="9" y="87"/>
                  </a:cubicBezTo>
                  <a:cubicBezTo>
                    <a:pt x="38" y="87"/>
                    <a:pt x="64" y="75"/>
                    <a:pt x="82" y="55"/>
                  </a:cubicBez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grpSp>
        <p:nvGrpSpPr>
          <p:cNvPr id="200" name="组合 199"/>
          <p:cNvGrpSpPr/>
          <p:nvPr/>
        </p:nvGrpSpPr>
        <p:grpSpPr>
          <a:xfrm rot="0" flipH="1">
            <a:off x="4533265" y="5034915"/>
            <a:ext cx="177800" cy="177800"/>
            <a:chOff x="4135438" y="2036763"/>
            <a:chExt cx="754062" cy="754062"/>
          </a:xfrm>
          <a:solidFill>
            <a:srgbClr val="DC6E00"/>
          </a:solidFill>
        </p:grpSpPr>
        <p:sp>
          <p:nvSpPr>
            <p:cNvPr id="201" name="Freeform 13"/>
            <p:cNvSpPr/>
            <p:nvPr/>
          </p:nvSpPr>
          <p:spPr bwMode="auto">
            <a:xfrm>
              <a:off x="4135438" y="2203450"/>
              <a:ext cx="258762" cy="320675"/>
            </a:xfrm>
            <a:custGeom>
              <a:avLst/>
              <a:gdLst>
                <a:gd name="T0" fmla="*/ 68 w 68"/>
                <a:gd name="T1" fmla="*/ 84 h 84"/>
                <a:gd name="T2" fmla="*/ 17 w 68"/>
                <a:gd name="T3" fmla="*/ 0 h 84"/>
                <a:gd name="T4" fmla="*/ 0 w 68"/>
                <a:gd name="T5" fmla="*/ 55 h 84"/>
                <a:gd name="T6" fmla="*/ 4 w 68"/>
                <a:gd name="T7" fmla="*/ 84 h 84"/>
                <a:gd name="T8" fmla="*/ 68 w 68"/>
                <a:gd name="T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84">
                  <a:moveTo>
                    <a:pt x="68" y="84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6" y="15"/>
                    <a:pt x="0" y="34"/>
                    <a:pt x="0" y="55"/>
                  </a:cubicBezTo>
                  <a:cubicBezTo>
                    <a:pt x="0" y="65"/>
                    <a:pt x="1" y="75"/>
                    <a:pt x="4" y="84"/>
                  </a:cubicBezTo>
                  <a:lnTo>
                    <a:pt x="68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2" name="Freeform 14"/>
            <p:cNvSpPr/>
            <p:nvPr/>
          </p:nvSpPr>
          <p:spPr bwMode="auto">
            <a:xfrm>
              <a:off x="4475163" y="2043113"/>
              <a:ext cx="381000" cy="209550"/>
            </a:xfrm>
            <a:custGeom>
              <a:avLst/>
              <a:gdLst>
                <a:gd name="T0" fmla="*/ 0 w 100"/>
                <a:gd name="T1" fmla="*/ 55 h 55"/>
                <a:gd name="T2" fmla="*/ 100 w 100"/>
                <a:gd name="T3" fmla="*/ 55 h 55"/>
                <a:gd name="T4" fmla="*/ 32 w 100"/>
                <a:gd name="T5" fmla="*/ 0 h 55"/>
                <a:gd name="T6" fmla="*/ 0 w 100"/>
                <a:gd name="T7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55">
                  <a:moveTo>
                    <a:pt x="0" y="55"/>
                  </a:moveTo>
                  <a:cubicBezTo>
                    <a:pt x="100" y="55"/>
                    <a:pt x="100" y="55"/>
                    <a:pt x="100" y="55"/>
                  </a:cubicBezTo>
                  <a:cubicBezTo>
                    <a:pt x="87" y="28"/>
                    <a:pt x="62" y="7"/>
                    <a:pt x="32" y="0"/>
                  </a:cubicBezTo>
                  <a:lnTo>
                    <a:pt x="0" y="5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3" name="Freeform 15"/>
            <p:cNvSpPr/>
            <p:nvPr/>
          </p:nvSpPr>
          <p:spPr bwMode="auto">
            <a:xfrm>
              <a:off x="4230688" y="2036763"/>
              <a:ext cx="320675" cy="334962"/>
            </a:xfrm>
            <a:custGeom>
              <a:avLst/>
              <a:gdLst>
                <a:gd name="T0" fmla="*/ 32 w 84"/>
                <a:gd name="T1" fmla="*/ 88 h 88"/>
                <a:gd name="T2" fmla="*/ 84 w 84"/>
                <a:gd name="T3" fmla="*/ 0 h 88"/>
                <a:gd name="T4" fmla="*/ 74 w 84"/>
                <a:gd name="T5" fmla="*/ 0 h 88"/>
                <a:gd name="T6" fmla="*/ 0 w 84"/>
                <a:gd name="T7" fmla="*/ 33 h 88"/>
                <a:gd name="T8" fmla="*/ 32 w 84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88">
                  <a:moveTo>
                    <a:pt x="32" y="88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81" y="0"/>
                    <a:pt x="77" y="0"/>
                    <a:pt x="74" y="0"/>
                  </a:cubicBezTo>
                  <a:cubicBezTo>
                    <a:pt x="44" y="0"/>
                    <a:pt x="18" y="13"/>
                    <a:pt x="0" y="33"/>
                  </a:cubicBezTo>
                  <a:lnTo>
                    <a:pt x="32" y="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4" name="Freeform 16"/>
            <p:cNvSpPr/>
            <p:nvPr/>
          </p:nvSpPr>
          <p:spPr bwMode="auto">
            <a:xfrm>
              <a:off x="4170363" y="2570163"/>
              <a:ext cx="381000" cy="215900"/>
            </a:xfrm>
            <a:custGeom>
              <a:avLst/>
              <a:gdLst>
                <a:gd name="T0" fmla="*/ 69 w 100"/>
                <a:gd name="T1" fmla="*/ 55 h 57"/>
                <a:gd name="T2" fmla="*/ 100 w 100"/>
                <a:gd name="T3" fmla="*/ 0 h 57"/>
                <a:gd name="T4" fmla="*/ 0 w 100"/>
                <a:gd name="T5" fmla="*/ 0 h 57"/>
                <a:gd name="T6" fmla="*/ 71 w 100"/>
                <a:gd name="T7" fmla="*/ 57 h 57"/>
                <a:gd name="T8" fmla="*/ 69 w 100"/>
                <a:gd name="T9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57">
                  <a:moveTo>
                    <a:pt x="69" y="55"/>
                  </a:moveTo>
                  <a:cubicBezTo>
                    <a:pt x="100" y="0"/>
                    <a:pt x="100" y="0"/>
                    <a:pt x="10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29"/>
                    <a:pt x="39" y="50"/>
                    <a:pt x="71" y="57"/>
                  </a:cubicBezTo>
                  <a:lnTo>
                    <a:pt x="69" y="5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5" name="Freeform 17"/>
            <p:cNvSpPr/>
            <p:nvPr/>
          </p:nvSpPr>
          <p:spPr bwMode="auto">
            <a:xfrm>
              <a:off x="4630738" y="2298700"/>
              <a:ext cx="258762" cy="331787"/>
            </a:xfrm>
            <a:custGeom>
              <a:avLst/>
              <a:gdLst>
                <a:gd name="T0" fmla="*/ 0 w 68"/>
                <a:gd name="T1" fmla="*/ 0 h 87"/>
                <a:gd name="T2" fmla="*/ 50 w 68"/>
                <a:gd name="T3" fmla="*/ 87 h 87"/>
                <a:gd name="T4" fmla="*/ 68 w 68"/>
                <a:gd name="T5" fmla="*/ 30 h 87"/>
                <a:gd name="T6" fmla="*/ 64 w 68"/>
                <a:gd name="T7" fmla="*/ 0 h 87"/>
                <a:gd name="T8" fmla="*/ 0 w 68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87">
                  <a:moveTo>
                    <a:pt x="0" y="0"/>
                  </a:moveTo>
                  <a:cubicBezTo>
                    <a:pt x="50" y="87"/>
                    <a:pt x="50" y="87"/>
                    <a:pt x="50" y="87"/>
                  </a:cubicBezTo>
                  <a:cubicBezTo>
                    <a:pt x="62" y="71"/>
                    <a:pt x="68" y="51"/>
                    <a:pt x="68" y="30"/>
                  </a:cubicBezTo>
                  <a:cubicBezTo>
                    <a:pt x="68" y="20"/>
                    <a:pt x="67" y="9"/>
                    <a:pt x="6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6" name="Freeform 18"/>
            <p:cNvSpPr/>
            <p:nvPr/>
          </p:nvSpPr>
          <p:spPr bwMode="auto">
            <a:xfrm>
              <a:off x="4478338" y="2459038"/>
              <a:ext cx="312737" cy="331787"/>
            </a:xfrm>
            <a:custGeom>
              <a:avLst/>
              <a:gdLst>
                <a:gd name="T0" fmla="*/ 50 w 82"/>
                <a:gd name="T1" fmla="*/ 0 h 87"/>
                <a:gd name="T2" fmla="*/ 0 w 82"/>
                <a:gd name="T3" fmla="*/ 87 h 87"/>
                <a:gd name="T4" fmla="*/ 9 w 82"/>
                <a:gd name="T5" fmla="*/ 87 h 87"/>
                <a:gd name="T6" fmla="*/ 82 w 82"/>
                <a:gd name="T7" fmla="*/ 55 h 87"/>
                <a:gd name="T8" fmla="*/ 50 w 82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87">
                  <a:moveTo>
                    <a:pt x="50" y="0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3" y="87"/>
                    <a:pt x="6" y="87"/>
                    <a:pt x="9" y="87"/>
                  </a:cubicBezTo>
                  <a:cubicBezTo>
                    <a:pt x="38" y="87"/>
                    <a:pt x="64" y="75"/>
                    <a:pt x="82" y="55"/>
                  </a:cubicBez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grpSp>
        <p:nvGrpSpPr>
          <p:cNvPr id="207" name="组合 206"/>
          <p:cNvGrpSpPr/>
          <p:nvPr/>
        </p:nvGrpSpPr>
        <p:grpSpPr>
          <a:xfrm rot="0" flipH="1">
            <a:off x="9722485" y="3627120"/>
            <a:ext cx="177800" cy="177800"/>
            <a:chOff x="4135438" y="2036763"/>
            <a:chExt cx="754062" cy="754062"/>
          </a:xfrm>
          <a:solidFill>
            <a:srgbClr val="DC6E00"/>
          </a:solidFill>
        </p:grpSpPr>
        <p:sp>
          <p:nvSpPr>
            <p:cNvPr id="208" name="Freeform 13"/>
            <p:cNvSpPr/>
            <p:nvPr/>
          </p:nvSpPr>
          <p:spPr bwMode="auto">
            <a:xfrm>
              <a:off x="4135438" y="2203450"/>
              <a:ext cx="258762" cy="320675"/>
            </a:xfrm>
            <a:custGeom>
              <a:avLst/>
              <a:gdLst>
                <a:gd name="T0" fmla="*/ 68 w 68"/>
                <a:gd name="T1" fmla="*/ 84 h 84"/>
                <a:gd name="T2" fmla="*/ 17 w 68"/>
                <a:gd name="T3" fmla="*/ 0 h 84"/>
                <a:gd name="T4" fmla="*/ 0 w 68"/>
                <a:gd name="T5" fmla="*/ 55 h 84"/>
                <a:gd name="T6" fmla="*/ 4 w 68"/>
                <a:gd name="T7" fmla="*/ 84 h 84"/>
                <a:gd name="T8" fmla="*/ 68 w 68"/>
                <a:gd name="T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84">
                  <a:moveTo>
                    <a:pt x="68" y="84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6" y="15"/>
                    <a:pt x="0" y="34"/>
                    <a:pt x="0" y="55"/>
                  </a:cubicBezTo>
                  <a:cubicBezTo>
                    <a:pt x="0" y="65"/>
                    <a:pt x="1" y="75"/>
                    <a:pt x="4" y="84"/>
                  </a:cubicBezTo>
                  <a:lnTo>
                    <a:pt x="68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9" name="Freeform 14"/>
            <p:cNvSpPr/>
            <p:nvPr/>
          </p:nvSpPr>
          <p:spPr bwMode="auto">
            <a:xfrm>
              <a:off x="4475163" y="2043113"/>
              <a:ext cx="381000" cy="209550"/>
            </a:xfrm>
            <a:custGeom>
              <a:avLst/>
              <a:gdLst>
                <a:gd name="T0" fmla="*/ 0 w 100"/>
                <a:gd name="T1" fmla="*/ 55 h 55"/>
                <a:gd name="T2" fmla="*/ 100 w 100"/>
                <a:gd name="T3" fmla="*/ 55 h 55"/>
                <a:gd name="T4" fmla="*/ 32 w 100"/>
                <a:gd name="T5" fmla="*/ 0 h 55"/>
                <a:gd name="T6" fmla="*/ 0 w 100"/>
                <a:gd name="T7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55">
                  <a:moveTo>
                    <a:pt x="0" y="55"/>
                  </a:moveTo>
                  <a:cubicBezTo>
                    <a:pt x="100" y="55"/>
                    <a:pt x="100" y="55"/>
                    <a:pt x="100" y="55"/>
                  </a:cubicBezTo>
                  <a:cubicBezTo>
                    <a:pt x="87" y="28"/>
                    <a:pt x="62" y="7"/>
                    <a:pt x="32" y="0"/>
                  </a:cubicBezTo>
                  <a:lnTo>
                    <a:pt x="0" y="5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0" name="Freeform 15"/>
            <p:cNvSpPr/>
            <p:nvPr/>
          </p:nvSpPr>
          <p:spPr bwMode="auto">
            <a:xfrm>
              <a:off x="4230688" y="2036763"/>
              <a:ext cx="320675" cy="334962"/>
            </a:xfrm>
            <a:custGeom>
              <a:avLst/>
              <a:gdLst>
                <a:gd name="T0" fmla="*/ 32 w 84"/>
                <a:gd name="T1" fmla="*/ 88 h 88"/>
                <a:gd name="T2" fmla="*/ 84 w 84"/>
                <a:gd name="T3" fmla="*/ 0 h 88"/>
                <a:gd name="T4" fmla="*/ 74 w 84"/>
                <a:gd name="T5" fmla="*/ 0 h 88"/>
                <a:gd name="T6" fmla="*/ 0 w 84"/>
                <a:gd name="T7" fmla="*/ 33 h 88"/>
                <a:gd name="T8" fmla="*/ 32 w 84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88">
                  <a:moveTo>
                    <a:pt x="32" y="88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81" y="0"/>
                    <a:pt x="77" y="0"/>
                    <a:pt x="74" y="0"/>
                  </a:cubicBezTo>
                  <a:cubicBezTo>
                    <a:pt x="44" y="0"/>
                    <a:pt x="18" y="13"/>
                    <a:pt x="0" y="33"/>
                  </a:cubicBezTo>
                  <a:lnTo>
                    <a:pt x="32" y="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1" name="Freeform 16"/>
            <p:cNvSpPr/>
            <p:nvPr/>
          </p:nvSpPr>
          <p:spPr bwMode="auto">
            <a:xfrm>
              <a:off x="4170363" y="2570163"/>
              <a:ext cx="381000" cy="215900"/>
            </a:xfrm>
            <a:custGeom>
              <a:avLst/>
              <a:gdLst>
                <a:gd name="T0" fmla="*/ 69 w 100"/>
                <a:gd name="T1" fmla="*/ 55 h 57"/>
                <a:gd name="T2" fmla="*/ 100 w 100"/>
                <a:gd name="T3" fmla="*/ 0 h 57"/>
                <a:gd name="T4" fmla="*/ 0 w 100"/>
                <a:gd name="T5" fmla="*/ 0 h 57"/>
                <a:gd name="T6" fmla="*/ 71 w 100"/>
                <a:gd name="T7" fmla="*/ 57 h 57"/>
                <a:gd name="T8" fmla="*/ 69 w 100"/>
                <a:gd name="T9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57">
                  <a:moveTo>
                    <a:pt x="69" y="55"/>
                  </a:moveTo>
                  <a:cubicBezTo>
                    <a:pt x="100" y="0"/>
                    <a:pt x="100" y="0"/>
                    <a:pt x="10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29"/>
                    <a:pt x="39" y="50"/>
                    <a:pt x="71" y="57"/>
                  </a:cubicBezTo>
                  <a:lnTo>
                    <a:pt x="69" y="5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2" name="Freeform 17"/>
            <p:cNvSpPr/>
            <p:nvPr/>
          </p:nvSpPr>
          <p:spPr bwMode="auto">
            <a:xfrm>
              <a:off x="4630738" y="2298700"/>
              <a:ext cx="258762" cy="331787"/>
            </a:xfrm>
            <a:custGeom>
              <a:avLst/>
              <a:gdLst>
                <a:gd name="T0" fmla="*/ 0 w 68"/>
                <a:gd name="T1" fmla="*/ 0 h 87"/>
                <a:gd name="T2" fmla="*/ 50 w 68"/>
                <a:gd name="T3" fmla="*/ 87 h 87"/>
                <a:gd name="T4" fmla="*/ 68 w 68"/>
                <a:gd name="T5" fmla="*/ 30 h 87"/>
                <a:gd name="T6" fmla="*/ 64 w 68"/>
                <a:gd name="T7" fmla="*/ 0 h 87"/>
                <a:gd name="T8" fmla="*/ 0 w 68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87">
                  <a:moveTo>
                    <a:pt x="0" y="0"/>
                  </a:moveTo>
                  <a:cubicBezTo>
                    <a:pt x="50" y="87"/>
                    <a:pt x="50" y="87"/>
                    <a:pt x="50" y="87"/>
                  </a:cubicBezTo>
                  <a:cubicBezTo>
                    <a:pt x="62" y="71"/>
                    <a:pt x="68" y="51"/>
                    <a:pt x="68" y="30"/>
                  </a:cubicBezTo>
                  <a:cubicBezTo>
                    <a:pt x="68" y="20"/>
                    <a:pt x="67" y="9"/>
                    <a:pt x="6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3" name="Freeform 18"/>
            <p:cNvSpPr/>
            <p:nvPr/>
          </p:nvSpPr>
          <p:spPr bwMode="auto">
            <a:xfrm>
              <a:off x="4478338" y="2459038"/>
              <a:ext cx="312737" cy="331787"/>
            </a:xfrm>
            <a:custGeom>
              <a:avLst/>
              <a:gdLst>
                <a:gd name="T0" fmla="*/ 50 w 82"/>
                <a:gd name="T1" fmla="*/ 0 h 87"/>
                <a:gd name="T2" fmla="*/ 0 w 82"/>
                <a:gd name="T3" fmla="*/ 87 h 87"/>
                <a:gd name="T4" fmla="*/ 9 w 82"/>
                <a:gd name="T5" fmla="*/ 87 h 87"/>
                <a:gd name="T6" fmla="*/ 82 w 82"/>
                <a:gd name="T7" fmla="*/ 55 h 87"/>
                <a:gd name="T8" fmla="*/ 50 w 82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87">
                  <a:moveTo>
                    <a:pt x="50" y="0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3" y="87"/>
                    <a:pt x="6" y="87"/>
                    <a:pt x="9" y="87"/>
                  </a:cubicBezTo>
                  <a:cubicBezTo>
                    <a:pt x="38" y="87"/>
                    <a:pt x="64" y="75"/>
                    <a:pt x="82" y="55"/>
                  </a:cubicBez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grpSp>
        <p:nvGrpSpPr>
          <p:cNvPr id="214" name="组合 213"/>
          <p:cNvGrpSpPr/>
          <p:nvPr/>
        </p:nvGrpSpPr>
        <p:grpSpPr>
          <a:xfrm rot="0" flipH="1">
            <a:off x="9721850" y="2750820"/>
            <a:ext cx="177800" cy="177800"/>
            <a:chOff x="4135438" y="2036763"/>
            <a:chExt cx="754062" cy="754062"/>
          </a:xfrm>
          <a:solidFill>
            <a:srgbClr val="DC6E00"/>
          </a:solidFill>
        </p:grpSpPr>
        <p:sp>
          <p:nvSpPr>
            <p:cNvPr id="215" name="Freeform 13"/>
            <p:cNvSpPr/>
            <p:nvPr/>
          </p:nvSpPr>
          <p:spPr bwMode="auto">
            <a:xfrm>
              <a:off x="4135438" y="2203450"/>
              <a:ext cx="258762" cy="320675"/>
            </a:xfrm>
            <a:custGeom>
              <a:avLst/>
              <a:gdLst>
                <a:gd name="T0" fmla="*/ 68 w 68"/>
                <a:gd name="T1" fmla="*/ 84 h 84"/>
                <a:gd name="T2" fmla="*/ 17 w 68"/>
                <a:gd name="T3" fmla="*/ 0 h 84"/>
                <a:gd name="T4" fmla="*/ 0 w 68"/>
                <a:gd name="T5" fmla="*/ 55 h 84"/>
                <a:gd name="T6" fmla="*/ 4 w 68"/>
                <a:gd name="T7" fmla="*/ 84 h 84"/>
                <a:gd name="T8" fmla="*/ 68 w 68"/>
                <a:gd name="T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84">
                  <a:moveTo>
                    <a:pt x="68" y="84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6" y="15"/>
                    <a:pt x="0" y="34"/>
                    <a:pt x="0" y="55"/>
                  </a:cubicBezTo>
                  <a:cubicBezTo>
                    <a:pt x="0" y="65"/>
                    <a:pt x="1" y="75"/>
                    <a:pt x="4" y="84"/>
                  </a:cubicBezTo>
                  <a:lnTo>
                    <a:pt x="68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6" name="Freeform 14"/>
            <p:cNvSpPr/>
            <p:nvPr/>
          </p:nvSpPr>
          <p:spPr bwMode="auto">
            <a:xfrm>
              <a:off x="4475163" y="2043113"/>
              <a:ext cx="381000" cy="209550"/>
            </a:xfrm>
            <a:custGeom>
              <a:avLst/>
              <a:gdLst>
                <a:gd name="T0" fmla="*/ 0 w 100"/>
                <a:gd name="T1" fmla="*/ 55 h 55"/>
                <a:gd name="T2" fmla="*/ 100 w 100"/>
                <a:gd name="T3" fmla="*/ 55 h 55"/>
                <a:gd name="T4" fmla="*/ 32 w 100"/>
                <a:gd name="T5" fmla="*/ 0 h 55"/>
                <a:gd name="T6" fmla="*/ 0 w 100"/>
                <a:gd name="T7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55">
                  <a:moveTo>
                    <a:pt x="0" y="55"/>
                  </a:moveTo>
                  <a:cubicBezTo>
                    <a:pt x="100" y="55"/>
                    <a:pt x="100" y="55"/>
                    <a:pt x="100" y="55"/>
                  </a:cubicBezTo>
                  <a:cubicBezTo>
                    <a:pt x="87" y="28"/>
                    <a:pt x="62" y="7"/>
                    <a:pt x="32" y="0"/>
                  </a:cubicBezTo>
                  <a:lnTo>
                    <a:pt x="0" y="5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7" name="Freeform 15"/>
            <p:cNvSpPr/>
            <p:nvPr/>
          </p:nvSpPr>
          <p:spPr bwMode="auto">
            <a:xfrm>
              <a:off x="4230688" y="2036763"/>
              <a:ext cx="320675" cy="334962"/>
            </a:xfrm>
            <a:custGeom>
              <a:avLst/>
              <a:gdLst>
                <a:gd name="T0" fmla="*/ 32 w 84"/>
                <a:gd name="T1" fmla="*/ 88 h 88"/>
                <a:gd name="T2" fmla="*/ 84 w 84"/>
                <a:gd name="T3" fmla="*/ 0 h 88"/>
                <a:gd name="T4" fmla="*/ 74 w 84"/>
                <a:gd name="T5" fmla="*/ 0 h 88"/>
                <a:gd name="T6" fmla="*/ 0 w 84"/>
                <a:gd name="T7" fmla="*/ 33 h 88"/>
                <a:gd name="T8" fmla="*/ 32 w 84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88">
                  <a:moveTo>
                    <a:pt x="32" y="88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81" y="0"/>
                    <a:pt x="77" y="0"/>
                    <a:pt x="74" y="0"/>
                  </a:cubicBezTo>
                  <a:cubicBezTo>
                    <a:pt x="44" y="0"/>
                    <a:pt x="18" y="13"/>
                    <a:pt x="0" y="33"/>
                  </a:cubicBezTo>
                  <a:lnTo>
                    <a:pt x="32" y="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8" name="Freeform 16"/>
            <p:cNvSpPr/>
            <p:nvPr/>
          </p:nvSpPr>
          <p:spPr bwMode="auto">
            <a:xfrm>
              <a:off x="4170363" y="2570163"/>
              <a:ext cx="381000" cy="215900"/>
            </a:xfrm>
            <a:custGeom>
              <a:avLst/>
              <a:gdLst>
                <a:gd name="T0" fmla="*/ 69 w 100"/>
                <a:gd name="T1" fmla="*/ 55 h 57"/>
                <a:gd name="T2" fmla="*/ 100 w 100"/>
                <a:gd name="T3" fmla="*/ 0 h 57"/>
                <a:gd name="T4" fmla="*/ 0 w 100"/>
                <a:gd name="T5" fmla="*/ 0 h 57"/>
                <a:gd name="T6" fmla="*/ 71 w 100"/>
                <a:gd name="T7" fmla="*/ 57 h 57"/>
                <a:gd name="T8" fmla="*/ 69 w 100"/>
                <a:gd name="T9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57">
                  <a:moveTo>
                    <a:pt x="69" y="55"/>
                  </a:moveTo>
                  <a:cubicBezTo>
                    <a:pt x="100" y="0"/>
                    <a:pt x="100" y="0"/>
                    <a:pt x="10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29"/>
                    <a:pt x="39" y="50"/>
                    <a:pt x="71" y="57"/>
                  </a:cubicBezTo>
                  <a:lnTo>
                    <a:pt x="69" y="5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9" name="Freeform 17"/>
            <p:cNvSpPr/>
            <p:nvPr/>
          </p:nvSpPr>
          <p:spPr bwMode="auto">
            <a:xfrm>
              <a:off x="4630738" y="2298700"/>
              <a:ext cx="258762" cy="331787"/>
            </a:xfrm>
            <a:custGeom>
              <a:avLst/>
              <a:gdLst>
                <a:gd name="T0" fmla="*/ 0 w 68"/>
                <a:gd name="T1" fmla="*/ 0 h 87"/>
                <a:gd name="T2" fmla="*/ 50 w 68"/>
                <a:gd name="T3" fmla="*/ 87 h 87"/>
                <a:gd name="T4" fmla="*/ 68 w 68"/>
                <a:gd name="T5" fmla="*/ 30 h 87"/>
                <a:gd name="T6" fmla="*/ 64 w 68"/>
                <a:gd name="T7" fmla="*/ 0 h 87"/>
                <a:gd name="T8" fmla="*/ 0 w 68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87">
                  <a:moveTo>
                    <a:pt x="0" y="0"/>
                  </a:moveTo>
                  <a:cubicBezTo>
                    <a:pt x="50" y="87"/>
                    <a:pt x="50" y="87"/>
                    <a:pt x="50" y="87"/>
                  </a:cubicBezTo>
                  <a:cubicBezTo>
                    <a:pt x="62" y="71"/>
                    <a:pt x="68" y="51"/>
                    <a:pt x="68" y="30"/>
                  </a:cubicBezTo>
                  <a:cubicBezTo>
                    <a:pt x="68" y="20"/>
                    <a:pt x="67" y="9"/>
                    <a:pt x="6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20" name="Freeform 18"/>
            <p:cNvSpPr/>
            <p:nvPr/>
          </p:nvSpPr>
          <p:spPr bwMode="auto">
            <a:xfrm>
              <a:off x="4478338" y="2459038"/>
              <a:ext cx="312737" cy="331787"/>
            </a:xfrm>
            <a:custGeom>
              <a:avLst/>
              <a:gdLst>
                <a:gd name="T0" fmla="*/ 50 w 82"/>
                <a:gd name="T1" fmla="*/ 0 h 87"/>
                <a:gd name="T2" fmla="*/ 0 w 82"/>
                <a:gd name="T3" fmla="*/ 87 h 87"/>
                <a:gd name="T4" fmla="*/ 9 w 82"/>
                <a:gd name="T5" fmla="*/ 87 h 87"/>
                <a:gd name="T6" fmla="*/ 82 w 82"/>
                <a:gd name="T7" fmla="*/ 55 h 87"/>
                <a:gd name="T8" fmla="*/ 50 w 82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87">
                  <a:moveTo>
                    <a:pt x="50" y="0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3" y="87"/>
                    <a:pt x="6" y="87"/>
                    <a:pt x="9" y="87"/>
                  </a:cubicBezTo>
                  <a:cubicBezTo>
                    <a:pt x="38" y="87"/>
                    <a:pt x="64" y="75"/>
                    <a:pt x="82" y="55"/>
                  </a:cubicBez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95" name="页脚占位符 94"/>
          <p:cNvSpPr>
            <a:spLocks noGrp="1"/>
          </p:cNvSpPr>
          <p:nvPr>
            <p:ph type="ftr" sz="quarter" idx="11"/>
          </p:nvPr>
        </p:nvSpPr>
        <p:spPr>
          <a:xfrm>
            <a:off x="5857875" y="6275070"/>
            <a:ext cx="652780" cy="206375"/>
          </a:xfrm>
        </p:spPr>
        <p:txBody>
          <a:bodyPr/>
          <a:lstStyle/>
          <a:p>
            <a:r>
              <a:rPr lang="en-US" altLang="zh-CN" baseline="30000" dirty="0">
                <a:sym typeface="+mn-ea"/>
              </a:rPr>
              <a:t>mealprep®</a:t>
            </a:r>
            <a:r>
              <a:rPr lang="en-US" altLang="zh-CN" dirty="0">
                <a:sym typeface="+mn-ea"/>
              </a:rPr>
              <a:t> </a:t>
            </a:r>
            <a:endParaRPr lang="zh-CN" altLang="en-US" dirty="0"/>
          </a:p>
        </p:txBody>
      </p:sp>
    </p:spTree>
  </p:cSld>
  <p:clrMapOvr>
    <a:masterClrMapping/>
  </p:clrMapOvr>
  <p:transition>
    <p:pull/>
  </p:transition>
  <p:timing>
    <p:tnLst>
      <p:par>
        <p:cTn id="1" dur="indefinite" restart="never" nodeType="tmRoot"/>
      </p:par>
    </p:tnLst>
    <p:bldLst>
      <p:bldP spid="131" grpId="1"/>
      <p:bldP spid="132" grpId="1"/>
      <p:bldP spid="133" grpId="1"/>
      <p:bldP spid="157" grpId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Rectangle 52"/>
          <p:cNvSpPr/>
          <p:nvPr>
            <p:custDataLst>
              <p:tags r:id="rId2"/>
            </p:custDataLst>
          </p:nvPr>
        </p:nvSpPr>
        <p:spPr>
          <a:xfrm>
            <a:off x="3211195" y="1921510"/>
            <a:ext cx="1371600" cy="158750"/>
          </a:xfrm>
          <a:prstGeom prst="rect">
            <a:avLst/>
          </a:prstGeom>
          <a:noFill/>
          <a:ln w="12700">
            <a:noFill/>
          </a:ln>
        </p:spPr>
        <p:txBody>
          <a:bodyPr wrap="none" lIns="90000" rIns="90000" anchor="ctr"/>
          <a:p>
            <a:pPr algn="l" eaLnBrk="0" hangingPunct="0"/>
            <a:endParaRPr lang="de-DE" altLang="zh-CN" sz="1600" dirty="0">
              <a:latin typeface="Arial" panose="020B0604020202020204" pitchFamily="34" charset="0"/>
            </a:endParaRPr>
          </a:p>
        </p:txBody>
      </p:sp>
      <p:sp>
        <p:nvSpPr>
          <p:cNvPr id="131" name="Rectangle 60"/>
          <p:cNvSpPr/>
          <p:nvPr>
            <p:custDataLst>
              <p:tags r:id="rId3"/>
            </p:custDataLst>
          </p:nvPr>
        </p:nvSpPr>
        <p:spPr>
          <a:xfrm>
            <a:off x="2896870" y="1610995"/>
            <a:ext cx="2626995" cy="49784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1200" dirty="0">
                <a:latin typeface="Arial" panose="020B0604020202020204" pitchFamily="34" charset="0"/>
                <a:ea typeface="宋体" panose="02010600030101010101" pitchFamily="2" charset="-122"/>
              </a:rPr>
              <a:t>1 	</a:t>
            </a:r>
            <a:r>
              <a:rPr lang="en-US" altLang="zh-CN" sz="12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10</a:t>
            </a:r>
            <a:r>
              <a:rPr lang="zh-CN" altLang="en-US" sz="12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个针对白领高发健康问题的</a:t>
            </a:r>
            <a:r>
              <a:rPr lang="zh-CN" altLang="en-US" sz="12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主题</a:t>
            </a:r>
            <a:r>
              <a:rPr lang="en-US" altLang="zh-CN" sz="12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meal-prep</a:t>
            </a:r>
            <a:r>
              <a:rPr lang="zh-CN" altLang="en-US" sz="12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，如 </a:t>
            </a:r>
            <a:r>
              <a:rPr lang="en-US" altLang="zh-CN" sz="12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“</a:t>
            </a:r>
            <a:r>
              <a:rPr lang="zh-CN" altLang="en-US" sz="12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我没有秃</a:t>
            </a:r>
            <a:r>
              <a:rPr lang="en-US" altLang="zh-CN" sz="12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”</a:t>
            </a:r>
            <a:endParaRPr lang="en-US" altLang="zh-CN" sz="12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1200" dirty="0">
                <a:latin typeface="Arial" panose="020B0604020202020204" pitchFamily="34" charset="0"/>
                <a:ea typeface="宋体" panose="02010600030101010101" pitchFamily="2" charset="-122"/>
              </a:rPr>
              <a:t> </a:t>
            </a:r>
            <a:endParaRPr lang="en-US" altLang="zh-CN" sz="12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2" name="Rectangle 61"/>
          <p:cNvSpPr/>
          <p:nvPr>
            <p:custDataLst>
              <p:tags r:id="rId4"/>
            </p:custDataLst>
          </p:nvPr>
        </p:nvSpPr>
        <p:spPr>
          <a:xfrm>
            <a:off x="3565525" y="2125980"/>
            <a:ext cx="2541270" cy="16573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1200" dirty="0">
                <a:latin typeface="Arial" panose="020B0604020202020204" pitchFamily="34" charset="0"/>
                <a:ea typeface="宋体" panose="02010600030101010101" pitchFamily="2" charset="-122"/>
              </a:rPr>
              <a:t>2 	</a:t>
            </a:r>
            <a:r>
              <a:rPr lang="zh-CN" altLang="en-US" sz="12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轻食</a:t>
            </a:r>
            <a:r>
              <a:rPr lang="en-US" altLang="zh-CN" sz="12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&amp;</a:t>
            </a:r>
            <a:r>
              <a:rPr lang="zh-CN" altLang="en-US" sz="12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茶饮</a:t>
            </a:r>
            <a:r>
              <a:rPr lang="zh-CN" altLang="en-US" sz="12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方便食品</a:t>
            </a:r>
            <a:r>
              <a:rPr lang="zh-CN" altLang="en-US" sz="12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淘宝</a:t>
            </a:r>
            <a:r>
              <a:rPr lang="en-US" altLang="zh-CN" sz="12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/</a:t>
            </a:r>
            <a:r>
              <a:rPr lang="zh-CN" altLang="en-US" sz="12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超市零售</a:t>
            </a:r>
            <a:endParaRPr lang="zh-CN" altLang="en-US" sz="1200" dirty="0">
              <a:latin typeface="Arial" panose="020B0604020202020204" pitchFamily="34" charset="0"/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3" name="Rectangle 62"/>
          <p:cNvSpPr/>
          <p:nvPr>
            <p:custDataLst>
              <p:tags r:id="rId5"/>
            </p:custDataLst>
          </p:nvPr>
        </p:nvSpPr>
        <p:spPr>
          <a:xfrm>
            <a:off x="3912235" y="2444750"/>
            <a:ext cx="2447925" cy="66421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1200" dirty="0">
                <a:latin typeface="Arial" panose="020B0604020202020204" pitchFamily="34" charset="0"/>
                <a:ea typeface="宋体" panose="02010600030101010101" pitchFamily="2" charset="-122"/>
              </a:rPr>
              <a:t>3 	</a:t>
            </a:r>
            <a:r>
              <a:rPr lang="zh-CN" altLang="en-US" sz="12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特殊人群特色饮食供应，</a:t>
            </a:r>
            <a:r>
              <a:rPr lang="zh-CN" altLang="en-US" sz="12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如月子餐、糖友餐</a:t>
            </a:r>
            <a:r>
              <a:rPr lang="zh-CN" altLang="en-US" sz="12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、健身餐，与其他机构合作，占领细分市场</a:t>
            </a:r>
            <a:endParaRPr lang="zh-CN" altLang="en-US" sz="12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42875" indent="-142875" algn="l" defTabSz="762000" eaLnBrk="0" hangingPunct="0">
              <a:lnSpc>
                <a:spcPct val="90000"/>
              </a:lnSpc>
            </a:pPr>
            <a:endParaRPr lang="zh-CN" altLang="en-US" sz="12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46" name="Line 86"/>
          <p:cNvSpPr/>
          <p:nvPr>
            <p:custDataLst>
              <p:tags r:id="rId6"/>
            </p:custDataLst>
          </p:nvPr>
        </p:nvSpPr>
        <p:spPr>
          <a:xfrm flipH="1" flipV="1">
            <a:off x="2287270" y="1116330"/>
            <a:ext cx="20320" cy="2568575"/>
          </a:xfrm>
          <a:prstGeom prst="line">
            <a:avLst/>
          </a:prstGeom>
          <a:ln w="28575" cap="flat" cmpd="sng">
            <a:solidFill>
              <a:schemeClr val="bg2"/>
            </a:solidFill>
            <a:prstDash val="solid"/>
            <a:headEnd type="none" w="med" len="med"/>
            <a:tailEnd type="none" w="med" len="med"/>
          </a:ln>
        </p:spPr>
      </p:sp>
      <p:grpSp>
        <p:nvGrpSpPr>
          <p:cNvPr id="155" name="组合 154"/>
          <p:cNvGrpSpPr/>
          <p:nvPr/>
        </p:nvGrpSpPr>
        <p:grpSpPr>
          <a:xfrm rot="0">
            <a:off x="207645" y="1670685"/>
            <a:ext cx="4180205" cy="3912870"/>
            <a:chOff x="6193" y="3373"/>
            <a:chExt cx="6583" cy="6162"/>
          </a:xfrm>
        </p:grpSpPr>
        <p:graphicFrame>
          <p:nvGraphicFramePr>
            <p:cNvPr id="156" name="图表 155"/>
            <p:cNvGraphicFramePr/>
            <p:nvPr/>
          </p:nvGraphicFramePr>
          <p:xfrm>
            <a:off x="6193" y="3373"/>
            <a:ext cx="6583" cy="616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"/>
            </a:graphicData>
          </a:graphic>
        </p:graphicFrame>
        <p:sp>
          <p:nvSpPr>
            <p:cNvPr id="157" name="文本框 156"/>
            <p:cNvSpPr txBox="1"/>
            <p:nvPr/>
          </p:nvSpPr>
          <p:spPr>
            <a:xfrm rot="1740000">
              <a:off x="10412" y="4145"/>
              <a:ext cx="100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 b="1">
                  <a:solidFill>
                    <a:schemeClr val="bg1"/>
                  </a:solidFill>
                </a:rPr>
                <a:t>产品</a:t>
              </a:r>
              <a:endParaRPr lang="zh-CN" altLang="en-US" b="1">
                <a:solidFill>
                  <a:schemeClr val="bg1"/>
                </a:solidFill>
              </a:endParaRPr>
            </a:p>
          </p:txBody>
        </p:sp>
      </p:grpSp>
      <p:grpSp>
        <p:nvGrpSpPr>
          <p:cNvPr id="161" name="组合 160"/>
          <p:cNvGrpSpPr/>
          <p:nvPr/>
        </p:nvGrpSpPr>
        <p:grpSpPr>
          <a:xfrm rot="900000" flipH="1">
            <a:off x="1172845" y="2387600"/>
            <a:ext cx="2272030" cy="2414905"/>
            <a:chOff x="6817" y="2642"/>
            <a:chExt cx="5754" cy="6117"/>
          </a:xfrm>
        </p:grpSpPr>
        <p:sp>
          <p:nvSpPr>
            <p:cNvPr id="162" name="椭圆 161"/>
            <p:cNvSpPr/>
            <p:nvPr/>
          </p:nvSpPr>
          <p:spPr>
            <a:xfrm>
              <a:off x="6817" y="2827"/>
              <a:ext cx="5754" cy="5754"/>
            </a:xfrm>
            <a:prstGeom prst="ellipse">
              <a:avLst/>
            </a:prstGeom>
            <a:noFill/>
            <a:ln w="19050" cap="rnd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p>
              <a:pPr algn="ctr" defTabSz="914400">
                <a:defRPr/>
              </a:pPr>
              <a:endParaRPr lang="zh-CN" altLang="en-US" sz="2800">
                <a:solidFill>
                  <a:schemeClr val="tx1"/>
                </a:solidFill>
                <a:latin typeface="Bauhaus 93" panose="04030905020B02020C02" pitchFamily="82" charset="0"/>
              </a:endParaRPr>
            </a:p>
          </p:txBody>
        </p:sp>
        <p:sp>
          <p:nvSpPr>
            <p:cNvPr id="163" name="半闭框 162"/>
            <p:cNvSpPr/>
            <p:nvPr/>
          </p:nvSpPr>
          <p:spPr>
            <a:xfrm rot="18922839">
              <a:off x="9676" y="2642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4" name="半闭框 163"/>
            <p:cNvSpPr/>
            <p:nvPr/>
          </p:nvSpPr>
          <p:spPr>
            <a:xfrm rot="15054099">
              <a:off x="7026" y="4041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5" name="半闭框 164"/>
            <p:cNvSpPr/>
            <p:nvPr/>
          </p:nvSpPr>
          <p:spPr>
            <a:xfrm rot="11981181">
              <a:off x="6931" y="6774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6" name="半闭框 165"/>
            <p:cNvSpPr/>
            <p:nvPr/>
          </p:nvSpPr>
          <p:spPr>
            <a:xfrm rot="8111514">
              <a:off x="9238" y="8390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7" name="半闭框 166"/>
            <p:cNvSpPr/>
            <p:nvPr/>
          </p:nvSpPr>
          <p:spPr>
            <a:xfrm rot="4949669">
              <a:off x="11957" y="6964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8" name="半闭框 167"/>
            <p:cNvSpPr/>
            <p:nvPr/>
          </p:nvSpPr>
          <p:spPr>
            <a:xfrm>
              <a:off x="12132" y="4207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95" name="页脚占位符 94"/>
          <p:cNvSpPr>
            <a:spLocks noGrp="1"/>
          </p:cNvSpPr>
          <p:nvPr>
            <p:ph type="ftr" sz="quarter" idx="11"/>
          </p:nvPr>
        </p:nvSpPr>
        <p:spPr>
          <a:xfrm>
            <a:off x="5857875" y="6275070"/>
            <a:ext cx="652780" cy="206375"/>
          </a:xfrm>
        </p:spPr>
        <p:txBody>
          <a:bodyPr/>
          <a:lstStyle/>
          <a:p>
            <a:r>
              <a:rPr lang="en-US" altLang="zh-CN" baseline="30000" dirty="0">
                <a:sym typeface="+mn-ea"/>
              </a:rPr>
              <a:t>mealprep®</a:t>
            </a:r>
            <a:r>
              <a:rPr lang="en-US" altLang="zh-CN" dirty="0">
                <a:sym typeface="+mn-ea"/>
              </a:rPr>
              <a:t> </a:t>
            </a:r>
            <a:endParaRPr lang="zh-CN" altLang="en-US" dirty="0"/>
          </a:p>
        </p:txBody>
      </p:sp>
      <p:pic>
        <p:nvPicPr>
          <p:cNvPr id="6" name="图片 5" descr="C:\Users\Kristy\Desktop\timg.giftim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4247198" y="3750310"/>
            <a:ext cx="1536065" cy="1536065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6553200" y="-8255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>
              <a:buClrTx/>
              <a:buSzTx/>
              <a:buFontTx/>
            </a:pPr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7327900" y="1558290"/>
            <a:ext cx="3659505" cy="52197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>
              <a:buClrTx/>
              <a:buSzTx/>
              <a:buFontTx/>
            </a:pPr>
            <a:r>
              <a:rPr lang="en-US" altLang="zh-CN" sz="2800" b="1">
                <a:solidFill>
                  <a:schemeClr val="bg1"/>
                </a:solidFill>
                <a:sym typeface="+mn-ea"/>
              </a:rPr>
              <a:t>“</a:t>
            </a:r>
            <a:r>
              <a:rPr lang="zh-CN" altLang="en-US" sz="2800" b="1">
                <a:solidFill>
                  <a:schemeClr val="bg1"/>
                </a:solidFill>
                <a:sym typeface="+mn-ea"/>
              </a:rPr>
              <a:t>食疗</a:t>
            </a:r>
            <a:r>
              <a:rPr lang="en-US" altLang="zh-CN" sz="2800" b="1">
                <a:solidFill>
                  <a:schemeClr val="bg1"/>
                </a:solidFill>
                <a:sym typeface="+mn-ea"/>
              </a:rPr>
              <a:t>”</a:t>
            </a:r>
            <a:r>
              <a:rPr lang="zh-CN" altLang="en-US" sz="2800" b="1">
                <a:solidFill>
                  <a:schemeClr val="bg1"/>
                </a:solidFill>
                <a:sym typeface="+mn-ea"/>
              </a:rPr>
              <a:t>主题meal-prep</a:t>
            </a:r>
            <a:endParaRPr lang="zh-CN" altLang="en-US" sz="2800" b="1">
              <a:solidFill>
                <a:schemeClr val="bg1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 rot="20460000">
            <a:off x="6730365" y="286385"/>
            <a:ext cx="1362710" cy="889635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>
                <a:gd name="adj" fmla="val 51639"/>
              </a:avLst>
            </a:prstTxWarp>
            <a:spAutoFit/>
          </a:bodyPr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product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  <a:p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8517255" y="4087495"/>
            <a:ext cx="128143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sz="2400" b="1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月子餐糖友餐</a:t>
            </a:r>
            <a:r>
              <a:rPr lang="zh-CN" altLang="en-US" sz="2400" b="1">
                <a:solidFill>
                  <a:schemeClr val="bg1"/>
                </a:solidFill>
                <a:sym typeface="+mn-ea"/>
              </a:rPr>
              <a:t>健身餐</a:t>
            </a:r>
            <a:endParaRPr lang="zh-CN" altLang="en-US" sz="2400" b="1">
              <a:solidFill>
                <a:schemeClr val="bg1"/>
              </a:solidFill>
              <a:sym typeface="+mn-ea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7091045" y="3025775"/>
            <a:ext cx="5013325" cy="52197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>
              <a:buClrTx/>
              <a:buSzTx/>
              <a:buFontTx/>
            </a:pPr>
            <a:r>
              <a:rPr lang="zh-CN" altLang="en-US" sz="2800" b="1">
                <a:solidFill>
                  <a:schemeClr val="bg1"/>
                </a:solidFill>
              </a:rPr>
              <a:t>类似方便火锅の</a:t>
            </a:r>
            <a:r>
              <a:rPr lang="zh-CN" altLang="en-US" sz="2800" b="1">
                <a:solidFill>
                  <a:schemeClr val="bg1"/>
                </a:solidFill>
              </a:rPr>
              <a:t>方便轻食</a:t>
            </a:r>
            <a:r>
              <a:rPr lang="en-US" altLang="zh-CN" sz="2800" b="1">
                <a:solidFill>
                  <a:schemeClr val="bg1"/>
                </a:solidFill>
              </a:rPr>
              <a:t>+</a:t>
            </a:r>
            <a:r>
              <a:rPr lang="zh-CN" altLang="en-US" sz="2800" b="1">
                <a:solidFill>
                  <a:schemeClr val="bg1"/>
                </a:solidFill>
              </a:rPr>
              <a:t>茶饮</a:t>
            </a:r>
            <a:endParaRPr lang="zh-CN" altLang="en-US" sz="2800" b="1">
              <a:solidFill>
                <a:schemeClr val="bg1"/>
              </a:solidFill>
            </a:endParaRPr>
          </a:p>
        </p:txBody>
      </p:sp>
      <p:sp>
        <p:nvSpPr>
          <p:cNvPr id="169" name="Text Box 83"/>
          <p:cNvSpPr txBox="1"/>
          <p:nvPr>
            <p:custDataLst>
              <p:tags r:id="rId8"/>
            </p:custDataLst>
          </p:nvPr>
        </p:nvSpPr>
        <p:spPr>
          <a:xfrm>
            <a:off x="2562860" y="2738755"/>
            <a:ext cx="589280" cy="201295"/>
          </a:xfrm>
          <a:prstGeom prst="rect">
            <a:avLst/>
          </a:prstGeom>
          <a:noFill/>
          <a:ln w="12700">
            <a:noFill/>
          </a:ln>
        </p:spPr>
        <p:txBody>
          <a:bodyPr wrap="none">
            <a:spAutoFit/>
          </a:bodyPr>
          <a:p>
            <a:pPr algn="l" defTabSz="762000" eaLnBrk="0" hangingPunct="0">
              <a:lnSpc>
                <a:spcPct val="90000"/>
              </a:lnSpc>
              <a:tabLst>
                <a:tab pos="190500" algn="l"/>
              </a:tabLst>
            </a:pP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单点突破</a:t>
            </a:r>
            <a:endParaRPr lang="en-US" altLang="zh-CN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  <p:transition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2" grpId="1"/>
      <p:bldP spid="133" grpId="1"/>
      <p:bldP spid="5" grpId="0"/>
      <p:bldP spid="5" grpId="1"/>
      <p:bldP spid="17" grpId="0"/>
      <p:bldP spid="17" grpId="1"/>
      <p:bldP spid="10" grpId="0"/>
      <p:bldP spid="10" grpId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标题 8"/>
          <p:cNvSpPr txBox="1"/>
          <p:nvPr/>
        </p:nvSpPr>
        <p:spPr>
          <a:xfrm>
            <a:off x="3256280" y="608965"/>
            <a:ext cx="5679440" cy="349948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wrap="none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zh-CN" altLang="en-US" sz="2000" b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中国风主题餐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“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我没有秃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”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“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睡个好觉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”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“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长命百岁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”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“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应酬急救包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”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“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美人内养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”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“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东方辣味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”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“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命里缺菜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”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“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亚历山大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”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东方香料、花茶果茶、中药食疗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汁、香料熏蒸、煲汤等手法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2738755" y="4547235"/>
            <a:ext cx="6852920" cy="1823085"/>
            <a:chOff x="4322" y="6549"/>
            <a:chExt cx="10792" cy="2871"/>
          </a:xfrm>
        </p:grpSpPr>
        <p:grpSp>
          <p:nvGrpSpPr>
            <p:cNvPr id="14" name="组合 13"/>
            <p:cNvGrpSpPr/>
            <p:nvPr/>
          </p:nvGrpSpPr>
          <p:grpSpPr>
            <a:xfrm>
              <a:off x="9185" y="6549"/>
              <a:ext cx="1681" cy="1505"/>
              <a:chOff x="5465642" y="1881487"/>
              <a:chExt cx="1687482" cy="1510256"/>
            </a:xfrm>
          </p:grpSpPr>
          <p:sp>
            <p:nvSpPr>
              <p:cNvPr id="15" name="矩形 2"/>
              <p:cNvSpPr/>
              <p:nvPr/>
            </p:nvSpPr>
            <p:spPr>
              <a:xfrm rot="18000000">
                <a:off x="5971193" y="2209811"/>
                <a:ext cx="1216578" cy="1147285"/>
              </a:xfrm>
              <a:prstGeom prst="rect">
                <a:avLst/>
              </a:prstGeom>
              <a:gradFill>
                <a:gsLst>
                  <a:gs pos="23000">
                    <a:srgbClr val="A42E2E"/>
                  </a:gs>
                  <a:gs pos="100000">
                    <a:srgbClr val="CC4B4A">
                      <a:alpha val="0"/>
                      <a:lumMod val="0"/>
                      <a:lumOff val="100000"/>
                    </a:srgbClr>
                  </a:gs>
                  <a:gs pos="74000">
                    <a:srgbClr val="CC4B4A">
                      <a:alpha val="0"/>
                    </a:srgbClr>
                  </a:gs>
                </a:gsLst>
                <a:lin ang="66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cs"/>
                </a:endParaRPr>
              </a:p>
            </p:txBody>
          </p:sp>
          <p:grpSp>
            <p:nvGrpSpPr>
              <p:cNvPr id="18" name="组合 17"/>
              <p:cNvGrpSpPr/>
              <p:nvPr userDrawn="1"/>
            </p:nvGrpSpPr>
            <p:grpSpPr>
              <a:xfrm>
                <a:off x="5465642" y="1881487"/>
                <a:ext cx="1217540" cy="1217544"/>
                <a:chOff x="5465642" y="1894187"/>
                <a:chExt cx="1217540" cy="1217544"/>
              </a:xfrm>
              <a:effectLst/>
            </p:grpSpPr>
            <p:sp>
              <p:nvSpPr>
                <p:cNvPr id="19" name="椭圆 18"/>
                <p:cNvSpPr/>
                <p:nvPr/>
              </p:nvSpPr>
              <p:spPr>
                <a:xfrm>
                  <a:off x="5466012" y="1894559"/>
                  <a:ext cx="1216800" cy="1216800"/>
                </a:xfrm>
                <a:prstGeom prst="ellipse">
                  <a:avLst/>
                </a:prstGeom>
                <a:solidFill>
                  <a:srgbClr val="D74B4B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sp>
              <p:nvSpPr>
                <p:cNvPr id="20" name="Freeform 18"/>
                <p:cNvSpPr>
                  <a:spLocks noEditPoints="1"/>
                </p:cNvSpPr>
                <p:nvPr userDrawn="1"/>
              </p:nvSpPr>
              <p:spPr bwMode="auto">
                <a:xfrm>
                  <a:off x="5465642" y="1894187"/>
                  <a:ext cx="1217540" cy="1217544"/>
                </a:xfrm>
                <a:custGeom>
                  <a:avLst/>
                  <a:gdLst>
                    <a:gd name="T0" fmla="*/ 344 w 687"/>
                    <a:gd name="T1" fmla="*/ 0 h 685"/>
                    <a:gd name="T2" fmla="*/ 344 w 687"/>
                    <a:gd name="T3" fmla="*/ 0 h 685"/>
                    <a:gd name="T4" fmla="*/ 0 w 687"/>
                    <a:gd name="T5" fmla="*/ 344 h 685"/>
                    <a:gd name="T6" fmla="*/ 209 w 687"/>
                    <a:gd name="T7" fmla="*/ 659 h 685"/>
                    <a:gd name="T8" fmla="*/ 210 w 687"/>
                    <a:gd name="T9" fmla="*/ 648 h 685"/>
                    <a:gd name="T10" fmla="*/ 260 w 687"/>
                    <a:gd name="T11" fmla="*/ 402 h 685"/>
                    <a:gd name="T12" fmla="*/ 362 w 687"/>
                    <a:gd name="T13" fmla="*/ 334 h 685"/>
                    <a:gd name="T14" fmla="*/ 430 w 687"/>
                    <a:gd name="T15" fmla="*/ 436 h 685"/>
                    <a:gd name="T16" fmla="*/ 380 w 687"/>
                    <a:gd name="T17" fmla="*/ 682 h 685"/>
                    <a:gd name="T18" fmla="*/ 379 w 687"/>
                    <a:gd name="T19" fmla="*/ 685 h 685"/>
                    <a:gd name="T20" fmla="*/ 687 w 687"/>
                    <a:gd name="T21" fmla="*/ 344 h 685"/>
                    <a:gd name="T22" fmla="*/ 344 w 687"/>
                    <a:gd name="T23" fmla="*/ 0 h 685"/>
                    <a:gd name="T24" fmla="*/ 388 w 687"/>
                    <a:gd name="T25" fmla="*/ 293 h 685"/>
                    <a:gd name="T26" fmla="*/ 299 w 687"/>
                    <a:gd name="T27" fmla="*/ 204 h 685"/>
                    <a:gd name="T28" fmla="*/ 388 w 687"/>
                    <a:gd name="T29" fmla="*/ 115 h 685"/>
                    <a:gd name="T30" fmla="*/ 477 w 687"/>
                    <a:gd name="T31" fmla="*/ 204 h 685"/>
                    <a:gd name="T32" fmla="*/ 388 w 687"/>
                    <a:gd name="T33" fmla="*/ 293 h 6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87" h="685">
                      <a:moveTo>
                        <a:pt x="344" y="0"/>
                      </a:moveTo>
                      <a:cubicBezTo>
                        <a:pt x="344" y="0"/>
                        <a:pt x="344" y="0"/>
                        <a:pt x="344" y="0"/>
                      </a:cubicBezTo>
                      <a:cubicBezTo>
                        <a:pt x="155" y="0"/>
                        <a:pt x="0" y="155"/>
                        <a:pt x="0" y="344"/>
                      </a:cubicBezTo>
                      <a:cubicBezTo>
                        <a:pt x="0" y="485"/>
                        <a:pt x="86" y="607"/>
                        <a:pt x="209" y="659"/>
                      </a:cubicBezTo>
                      <a:cubicBezTo>
                        <a:pt x="209" y="656"/>
                        <a:pt x="209" y="652"/>
                        <a:pt x="210" y="648"/>
                      </a:cubicBezTo>
                      <a:cubicBezTo>
                        <a:pt x="260" y="402"/>
                        <a:pt x="260" y="402"/>
                        <a:pt x="260" y="402"/>
                      </a:cubicBezTo>
                      <a:cubicBezTo>
                        <a:pt x="269" y="355"/>
                        <a:pt x="315" y="325"/>
                        <a:pt x="362" y="334"/>
                      </a:cubicBezTo>
                      <a:cubicBezTo>
                        <a:pt x="409" y="344"/>
                        <a:pt x="439" y="390"/>
                        <a:pt x="430" y="436"/>
                      </a:cubicBezTo>
                      <a:cubicBezTo>
                        <a:pt x="380" y="682"/>
                        <a:pt x="380" y="682"/>
                        <a:pt x="380" y="682"/>
                      </a:cubicBezTo>
                      <a:cubicBezTo>
                        <a:pt x="379" y="684"/>
                        <a:pt x="379" y="684"/>
                        <a:pt x="379" y="685"/>
                      </a:cubicBezTo>
                      <a:cubicBezTo>
                        <a:pt x="551" y="668"/>
                        <a:pt x="687" y="521"/>
                        <a:pt x="687" y="344"/>
                      </a:cubicBezTo>
                      <a:cubicBezTo>
                        <a:pt x="687" y="155"/>
                        <a:pt x="533" y="0"/>
                        <a:pt x="344" y="0"/>
                      </a:cubicBezTo>
                      <a:close/>
                      <a:moveTo>
                        <a:pt x="388" y="293"/>
                      </a:moveTo>
                      <a:cubicBezTo>
                        <a:pt x="339" y="293"/>
                        <a:pt x="299" y="253"/>
                        <a:pt x="299" y="204"/>
                      </a:cubicBezTo>
                      <a:cubicBezTo>
                        <a:pt x="299" y="155"/>
                        <a:pt x="339" y="115"/>
                        <a:pt x="388" y="115"/>
                      </a:cubicBezTo>
                      <a:cubicBezTo>
                        <a:pt x="437" y="115"/>
                        <a:pt x="477" y="155"/>
                        <a:pt x="477" y="204"/>
                      </a:cubicBezTo>
                      <a:cubicBezTo>
                        <a:pt x="477" y="253"/>
                        <a:pt x="437" y="293"/>
                        <a:pt x="388" y="29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cs"/>
                  </a:endParaRPr>
                </a:p>
              </p:txBody>
            </p:sp>
          </p:grpSp>
        </p:grpSp>
        <p:sp>
          <p:nvSpPr>
            <p:cNvPr id="22" name="副标题 9"/>
            <p:cNvSpPr txBox="1"/>
            <p:nvPr/>
          </p:nvSpPr>
          <p:spPr>
            <a:xfrm>
              <a:off x="4322" y="8430"/>
              <a:ext cx="10792" cy="990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lang="en-US" altLang="zh-CN" sz="1400" baseline="30000" dirty="0">
                  <a:sym typeface="+mn-ea"/>
                </a:rPr>
                <a:t>mealprep®</a:t>
              </a:r>
              <a:r>
                <a:rPr lang="en-US" altLang="zh-CN" sz="1400" dirty="0">
                  <a:sym typeface="+mn-ea"/>
                </a:rPr>
                <a:t> </a:t>
              </a:r>
              <a:br>
                <a:rPr lang="en-US" altLang="zh-CN" sz="1400" dirty="0">
                  <a:sym typeface="+mn-ea"/>
                </a:rPr>
              </a:br>
              <a:r>
                <a:rPr lang="zh-CN" altLang="en-US" sz="900" dirty="0">
                  <a:sym typeface="+mn-ea"/>
                </a:rPr>
                <a:t>功能性饮食创新坊</a:t>
              </a:r>
              <a:endParaRPr lang="zh-CN" altLang="en-US" sz="900" dirty="0"/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pic>
        <p:nvPicPr>
          <p:cNvPr id="102" name="图片 10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451340" y="163195"/>
            <a:ext cx="2003425" cy="1502410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26575" y="1787525"/>
            <a:ext cx="2000885" cy="1501140"/>
          </a:xfrm>
          <a:prstGeom prst="rect">
            <a:avLst/>
          </a:prstGeom>
        </p:spPr>
      </p:pic>
      <p:pic>
        <p:nvPicPr>
          <p:cNvPr id="5" name="图片 4" descr="v2-c394c877244cd679066ec76e57930594_hd[1]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3715" y="5064760"/>
            <a:ext cx="2046605" cy="1535430"/>
          </a:xfrm>
          <a:prstGeom prst="rect">
            <a:avLst/>
          </a:prstGeom>
        </p:spPr>
      </p:pic>
      <p:pic>
        <p:nvPicPr>
          <p:cNvPr id="8" name="图片 7" descr="v2-177b221525cdbb0b908df9c5832e4c8f_r[1]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855" y="1844675"/>
            <a:ext cx="2030730" cy="1523365"/>
          </a:xfrm>
          <a:prstGeom prst="rect">
            <a:avLst/>
          </a:prstGeom>
        </p:spPr>
      </p:pic>
      <p:pic>
        <p:nvPicPr>
          <p:cNvPr id="11" name="图片 10" descr="v2-fabd622d0adc1e3add7a1aebe715af74_hd[1]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26575" y="3368040"/>
            <a:ext cx="2001520" cy="1501775"/>
          </a:xfrm>
          <a:prstGeom prst="rect">
            <a:avLst/>
          </a:prstGeom>
        </p:spPr>
      </p:pic>
      <p:pic>
        <p:nvPicPr>
          <p:cNvPr id="12" name="图片 11" descr="v2-bab39b8959d14989b43e94119b1aa231_hd[1]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4045" y="163195"/>
            <a:ext cx="2034540" cy="1523365"/>
          </a:xfrm>
          <a:prstGeom prst="rect">
            <a:avLst/>
          </a:prstGeom>
        </p:spPr>
      </p:pic>
      <p:pic>
        <p:nvPicPr>
          <p:cNvPr id="13" name="图片 12" descr="v2-34f3a7619593c14f1e56649804092982_hd[1]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4995" y="3484880"/>
            <a:ext cx="2053590" cy="1540510"/>
          </a:xfrm>
          <a:prstGeom prst="rect">
            <a:avLst/>
          </a:prstGeom>
        </p:spPr>
      </p:pic>
      <p:pic>
        <p:nvPicPr>
          <p:cNvPr id="16" name="图片 15" descr="v2-d37100b055d9cc0659eb11ab899ee6b8_hd[1]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7535" y="5163185"/>
            <a:ext cx="2051050" cy="1536065"/>
          </a:xfrm>
          <a:prstGeom prst="rect">
            <a:avLst/>
          </a:prstGeom>
        </p:spPr>
      </p:pic>
      <p:pic>
        <p:nvPicPr>
          <p:cNvPr id="23" name="图片 22" descr="timgYW6AQN8R"/>
          <p:cNvPicPr>
            <a:picLocks noChangeAspect="1"/>
          </p:cNvPicPr>
          <p:nvPr/>
        </p:nvPicPr>
        <p:blipFill>
          <a:blip r:embed="rId9"/>
          <a:srcRect l="8672" t="21967" r="3664"/>
          <a:stretch>
            <a:fillRect/>
          </a:stretch>
        </p:blipFill>
        <p:spPr>
          <a:xfrm>
            <a:off x="7038340" y="5376545"/>
            <a:ext cx="2012950" cy="1195705"/>
          </a:xfrm>
          <a:prstGeom prst="rect">
            <a:avLst/>
          </a:prstGeom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10255" y="5375275"/>
            <a:ext cx="1843405" cy="1146175"/>
          </a:xfrm>
          <a:prstGeom prst="rect">
            <a:avLst/>
          </a:prstGeom>
        </p:spPr>
      </p:pic>
      <p:pic>
        <p:nvPicPr>
          <p:cNvPr id="4" name="图片 3" descr="v2-c394c877244cd679066ec76e57930594_hd[1]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3715" y="5043170"/>
            <a:ext cx="2046605" cy="1535430"/>
          </a:xfrm>
          <a:prstGeom prst="rect">
            <a:avLst/>
          </a:prstGeom>
        </p:spPr>
      </p:pic>
      <p:pic>
        <p:nvPicPr>
          <p:cNvPr id="6" name="图片 5" descr="v2-177b221525cdbb0b908df9c5832e4c8f_r[1]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855" y="1823085"/>
            <a:ext cx="2030730" cy="1523365"/>
          </a:xfrm>
          <a:prstGeom prst="rect">
            <a:avLst/>
          </a:prstGeom>
        </p:spPr>
      </p:pic>
      <p:pic>
        <p:nvPicPr>
          <p:cNvPr id="7" name="图片 6" descr="v2-fabd622d0adc1e3add7a1aebe715af74_hd[1]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26575" y="3346450"/>
            <a:ext cx="2001520" cy="1501775"/>
          </a:xfrm>
          <a:prstGeom prst="rect">
            <a:avLst/>
          </a:prstGeom>
        </p:spPr>
      </p:pic>
      <p:pic>
        <p:nvPicPr>
          <p:cNvPr id="10" name="图片 9" descr="v2-bab39b8959d14989b43e94119b1aa231_hd[1]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4045" y="141605"/>
            <a:ext cx="2034540" cy="1523365"/>
          </a:xfrm>
          <a:prstGeom prst="rect">
            <a:avLst/>
          </a:prstGeom>
        </p:spPr>
      </p:pic>
      <p:pic>
        <p:nvPicPr>
          <p:cNvPr id="17" name="图片 16" descr="v2-34f3a7619593c14f1e56649804092982_hd[1]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4995" y="3463290"/>
            <a:ext cx="2053590" cy="1540510"/>
          </a:xfrm>
          <a:prstGeom prst="rect">
            <a:avLst/>
          </a:prstGeom>
        </p:spPr>
      </p:pic>
      <p:pic>
        <p:nvPicPr>
          <p:cNvPr id="25" name="图片 24" descr="v2-d37100b055d9cc0659eb11ab899ee6b8_hd[1]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7535" y="5141595"/>
            <a:ext cx="2051050" cy="1536065"/>
          </a:xfrm>
          <a:prstGeom prst="rect">
            <a:avLst/>
          </a:prstGeom>
        </p:spPr>
      </p:pic>
    </p:spTree>
    <p:custDataLst>
      <p:tags r:id="rId11"/>
    </p:custDataLst>
  </p:cSld>
  <p:clrMapOvr>
    <a:masterClrMapping/>
  </p:clrMapOvr>
  <p:transition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7" dur="80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8" dur="80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80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27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12" dur="80"/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13" dur="80"/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80"/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27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17" dur="80"/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18" dur="80"/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80"/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7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22" dur="80"/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23" dur="80"/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80"/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7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27" dur="80"/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28" dur="80"/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9" dur="80"/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27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32" dur="80"/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33" dur="80"/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4" dur="80"/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27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37" dur="80"/>
                                        <p:tgtEl>
                                          <p:spTgt spid="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38" dur="80"/>
                                        <p:tgtEl>
                                          <p:spTgt spid="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9" dur="80"/>
                                        <p:tgtEl>
                                          <p:spTgt spid="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27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42" dur="80"/>
                                        <p:tgtEl>
                                          <p:spTgt spid="2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43" dur="80"/>
                                        <p:tgtEl>
                                          <p:spTgt spid="2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4" dur="80"/>
                                        <p:tgtEl>
                                          <p:spTgt spid="2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27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47" dur="80"/>
                                        <p:tgtEl>
                                          <p:spTgt spid="2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48" dur="80"/>
                                        <p:tgtEl>
                                          <p:spTgt spid="2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9" dur="80"/>
                                        <p:tgtEl>
                                          <p:spTgt spid="2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27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52" dur="80"/>
                                        <p:tgtEl>
                                          <p:spTgt spid="2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53" dur="80"/>
                                        <p:tgtEl>
                                          <p:spTgt spid="2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4" dur="80"/>
                                        <p:tgtEl>
                                          <p:spTgt spid="2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27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57" dur="80"/>
                                        <p:tgtEl>
                                          <p:spTgt spid="2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58" dur="80"/>
                                        <p:tgtEl>
                                          <p:spTgt spid="2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9" dur="80"/>
                                        <p:tgtEl>
                                          <p:spTgt spid="2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页脚占位符 94"/>
          <p:cNvSpPr>
            <a:spLocks noGrp="1"/>
          </p:cNvSpPr>
          <p:nvPr>
            <p:ph type="ftr" sz="quarter" idx="11"/>
          </p:nvPr>
        </p:nvSpPr>
        <p:spPr>
          <a:xfrm>
            <a:off x="5857875" y="6275070"/>
            <a:ext cx="652780" cy="206375"/>
          </a:xfrm>
        </p:spPr>
        <p:txBody>
          <a:bodyPr/>
          <a:lstStyle/>
          <a:p>
            <a:r>
              <a:rPr lang="en-US" altLang="zh-CN" baseline="30000" dirty="0">
                <a:sym typeface="+mn-ea"/>
              </a:rPr>
              <a:t>mealprep®</a:t>
            </a:r>
            <a:r>
              <a:rPr lang="en-US" altLang="zh-CN" dirty="0">
                <a:sym typeface="+mn-ea"/>
              </a:rPr>
              <a:t> </a:t>
            </a:r>
            <a:endParaRPr lang="zh-CN" altLang="en-US" dirty="0"/>
          </a:p>
        </p:txBody>
      </p:sp>
      <p:grpSp>
        <p:nvGrpSpPr>
          <p:cNvPr id="11" name="组合 10"/>
          <p:cNvGrpSpPr/>
          <p:nvPr/>
        </p:nvGrpSpPr>
        <p:grpSpPr>
          <a:xfrm rot="0">
            <a:off x="3621405" y="-139700"/>
            <a:ext cx="2236470" cy="3539490"/>
            <a:chOff x="5913" y="1509"/>
            <a:chExt cx="3522" cy="5574"/>
          </a:xfrm>
        </p:grpSpPr>
        <p:sp>
          <p:nvSpPr>
            <p:cNvPr id="146" name="Line 86"/>
            <p:cNvSpPr/>
            <p:nvPr>
              <p:custDataLst>
                <p:tags r:id="rId2"/>
              </p:custDataLst>
            </p:nvPr>
          </p:nvSpPr>
          <p:spPr>
            <a:xfrm flipH="1" flipV="1">
              <a:off x="9403" y="1509"/>
              <a:ext cx="32" cy="4045"/>
            </a:xfrm>
            <a:prstGeom prst="line">
              <a:avLst/>
            </a:prstGeom>
            <a:ln w="28575" cap="flat" cmpd="sng">
              <a:solidFill>
                <a:schemeClr val="bg2"/>
              </a:solidFill>
              <a:prstDash val="solid"/>
              <a:headEnd type="none" w="med" len="med"/>
              <a:tailEnd type="none" w="med" len="med"/>
            </a:ln>
          </p:spPr>
        </p:sp>
        <p:grpSp>
          <p:nvGrpSpPr>
            <p:cNvPr id="4" name="组合 3"/>
            <p:cNvGrpSpPr/>
            <p:nvPr/>
          </p:nvGrpSpPr>
          <p:grpSpPr>
            <a:xfrm>
              <a:off x="6559" y="3662"/>
              <a:ext cx="2876" cy="1300"/>
              <a:chOff x="6559" y="3662"/>
              <a:chExt cx="2876" cy="1300"/>
            </a:xfrm>
          </p:grpSpPr>
          <p:sp>
            <p:nvSpPr>
              <p:cNvPr id="134" name="Rectangle 63"/>
              <p:cNvSpPr/>
              <p:nvPr>
                <p:custDataLst>
                  <p:tags r:id="rId3"/>
                </p:custDataLst>
              </p:nvPr>
            </p:nvSpPr>
            <p:spPr>
              <a:xfrm>
                <a:off x="6559" y="3662"/>
                <a:ext cx="2877" cy="694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wrap="square" lIns="0" tIns="0" rIns="0" bIns="0">
                <a:spAutoFit/>
              </a:bodyPr>
              <a:p>
                <a:pPr marL="142875" indent="-142875" algn="l" defTabSz="762000" eaLnBrk="0" hangingPunct="0">
                  <a:lnSpc>
                    <a:spcPct val="90000"/>
                  </a:lnSpc>
                </a:pPr>
                <a:r>
                  <a:rPr lang="en-US" altLang="zh-CN" sz="800" dirty="0">
                    <a:latin typeface="Arial" panose="020B0604020202020204" pitchFamily="34" charset="0"/>
                    <a:ea typeface="宋体" panose="02010600030101010101" pitchFamily="2" charset="-122"/>
                  </a:rPr>
                  <a:t>4 	</a:t>
                </a:r>
                <a:r>
                  <a:rPr lang="zh-CN" altLang="en-US" sz="800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大数据饮食规划平台上线：只要注册会员，就能</a:t>
                </a:r>
                <a:r>
                  <a:rPr lang="zh-CN" altLang="en-US" sz="800" b="1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永久免费定制私人菜单</a:t>
                </a:r>
                <a:r>
                  <a:rPr lang="zh-CN" altLang="en-US" sz="800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，人工智能营养师</a:t>
                </a:r>
                <a:endParaRPr lang="zh-CN" altLang="en-US" sz="800" dirty="0">
                  <a:latin typeface="Arial" panose="020B0604020202020204" pitchFamily="34" charset="0"/>
                  <a:ea typeface="宋体" panose="02010600030101010101" pitchFamily="2" charset="-122"/>
                </a:endParaRPr>
              </a:p>
              <a:p>
                <a:pPr marL="142875" indent="-142875" algn="l" defTabSz="762000" eaLnBrk="0" hangingPunct="0">
                  <a:lnSpc>
                    <a:spcPct val="90000"/>
                  </a:lnSpc>
                </a:pPr>
                <a:endParaRPr lang="zh-CN" altLang="en-US" sz="800" dirty="0"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135" name="Rectangle 64"/>
              <p:cNvSpPr/>
              <p:nvPr>
                <p:custDataLst>
                  <p:tags r:id="rId4"/>
                </p:custDataLst>
              </p:nvPr>
            </p:nvSpPr>
            <p:spPr>
              <a:xfrm>
                <a:off x="6734" y="4442"/>
                <a:ext cx="2640" cy="521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wrap="square" lIns="0" tIns="0" rIns="0" bIns="0">
                <a:spAutoFit/>
              </a:bodyPr>
              <a:p>
                <a:pPr marL="142875" indent="-142875" algn="l" defTabSz="762000" eaLnBrk="0" hangingPunct="0">
                  <a:lnSpc>
                    <a:spcPct val="90000"/>
                  </a:lnSpc>
                </a:pPr>
                <a:r>
                  <a:rPr lang="en-US" altLang="zh-CN" sz="800" dirty="0">
                    <a:latin typeface="Arial" panose="020B0604020202020204" pitchFamily="34" charset="0"/>
                    <a:ea typeface="宋体" panose="02010600030101010101" pitchFamily="2" charset="-122"/>
                  </a:rPr>
                  <a:t>5  </a:t>
                </a:r>
                <a:r>
                  <a:rPr lang="zh-CN" altLang="en-US" sz="800" b="1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会员追踪式饮食管理</a:t>
                </a:r>
                <a:r>
                  <a:rPr lang="zh-CN" altLang="en-US" sz="800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：食疗顾问、送餐服务、健康小贴士</a:t>
                </a:r>
                <a:endParaRPr lang="zh-CN" altLang="en-US" sz="800" dirty="0">
                  <a:latin typeface="Arial" panose="020B0604020202020204" pitchFamily="34" charset="0"/>
                  <a:ea typeface="宋体" panose="02010600030101010101" pitchFamily="2" charset="-122"/>
                </a:endParaRPr>
              </a:p>
              <a:p>
                <a:pPr marL="142875" indent="-142875" algn="l" defTabSz="762000" eaLnBrk="0" hangingPunct="0">
                  <a:lnSpc>
                    <a:spcPct val="90000"/>
                  </a:lnSpc>
                </a:pPr>
                <a:r>
                  <a:rPr lang="en-US" altLang="zh-CN" sz="800" dirty="0">
                    <a:latin typeface="Arial" panose="020B0604020202020204" pitchFamily="34" charset="0"/>
                    <a:ea typeface="宋体" panose="02010600030101010101" pitchFamily="2" charset="-122"/>
                  </a:rPr>
                  <a:t>	</a:t>
                </a:r>
                <a:endParaRPr lang="zh-CN" altLang="en-US" sz="800" dirty="0"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</p:grpSp>
        <p:grpSp>
          <p:nvGrpSpPr>
            <p:cNvPr id="5" name="组合 4"/>
            <p:cNvGrpSpPr/>
            <p:nvPr/>
          </p:nvGrpSpPr>
          <p:grpSpPr>
            <a:xfrm>
              <a:off x="5913" y="5109"/>
              <a:ext cx="3223" cy="1974"/>
              <a:chOff x="5913" y="5109"/>
              <a:chExt cx="3223" cy="1974"/>
            </a:xfrm>
          </p:grpSpPr>
          <p:sp>
            <p:nvSpPr>
              <p:cNvPr id="136" name="Rectangle 65"/>
              <p:cNvSpPr/>
              <p:nvPr>
                <p:custDataLst>
                  <p:tags r:id="rId5"/>
                </p:custDataLst>
              </p:nvPr>
            </p:nvSpPr>
            <p:spPr>
              <a:xfrm>
                <a:off x="6632" y="5109"/>
                <a:ext cx="2505" cy="521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wrap="square" lIns="0" tIns="0" rIns="0" bIns="0">
                <a:spAutoFit/>
              </a:bodyPr>
              <a:p>
                <a:pPr marL="142875" indent="-142875" algn="l" defTabSz="762000" eaLnBrk="0" hangingPunct="0">
                  <a:lnSpc>
                    <a:spcPct val="90000"/>
                  </a:lnSpc>
                </a:pPr>
                <a:r>
                  <a:rPr lang="en-US" altLang="zh-CN" sz="800" dirty="0">
                    <a:latin typeface="Arial" panose="020B0604020202020204" pitchFamily="34" charset="0"/>
                    <a:ea typeface="宋体" panose="02010600030101010101" pitchFamily="2" charset="-122"/>
                  </a:rPr>
                  <a:t>6 	</a:t>
                </a:r>
                <a:r>
                  <a:rPr lang="zh-CN" altLang="en-US" sz="800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打造</a:t>
                </a:r>
                <a:r>
                  <a:rPr lang="zh-CN" altLang="en-US" sz="800" b="1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自媒体</a:t>
                </a:r>
                <a:r>
                  <a:rPr lang="zh-CN" altLang="en-US" sz="800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：优质营养学</a:t>
                </a:r>
                <a:r>
                  <a:rPr lang="en-US" altLang="zh-CN" sz="800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+</a:t>
                </a:r>
                <a:r>
                  <a:rPr lang="zh-CN" altLang="en-US" sz="800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中医</a:t>
                </a:r>
                <a:r>
                  <a:rPr lang="zh-CN" altLang="en-US" sz="800" b="1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科普干货文章</a:t>
                </a:r>
                <a:r>
                  <a:rPr lang="zh-CN" altLang="en-US" sz="800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，带流量</a:t>
                </a:r>
                <a:endParaRPr lang="zh-CN" altLang="en-US" sz="800" dirty="0">
                  <a:latin typeface="Arial" panose="020B0604020202020204" pitchFamily="34" charset="0"/>
                  <a:ea typeface="宋体" panose="02010600030101010101" pitchFamily="2" charset="-122"/>
                </a:endParaRPr>
              </a:p>
              <a:p>
                <a:pPr marL="142875" indent="-142875" algn="l" defTabSz="762000" eaLnBrk="0" hangingPunct="0">
                  <a:lnSpc>
                    <a:spcPct val="90000"/>
                  </a:lnSpc>
                </a:pPr>
                <a:endParaRPr lang="zh-CN" altLang="en-US" sz="800" dirty="0"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137" name="Rectangle 66"/>
              <p:cNvSpPr/>
              <p:nvPr>
                <p:custDataLst>
                  <p:tags r:id="rId6"/>
                </p:custDataLst>
              </p:nvPr>
            </p:nvSpPr>
            <p:spPr>
              <a:xfrm>
                <a:off x="6529" y="5919"/>
                <a:ext cx="2077" cy="347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wrap="square" lIns="0" tIns="0" rIns="0" bIns="0">
                <a:spAutoFit/>
              </a:bodyPr>
              <a:p>
                <a:pPr marL="142875" indent="-142875" algn="l" defTabSz="762000" eaLnBrk="0" hangingPunct="0">
                  <a:lnSpc>
                    <a:spcPct val="90000"/>
                  </a:lnSpc>
                </a:pPr>
                <a:r>
                  <a:rPr lang="en-US" altLang="zh-CN" sz="800" dirty="0">
                    <a:latin typeface="Arial" panose="020B0604020202020204" pitchFamily="34" charset="0"/>
                    <a:ea typeface="宋体" panose="02010600030101010101" pitchFamily="2" charset="-122"/>
                  </a:rPr>
                  <a:t>7 	</a:t>
                </a:r>
                <a:r>
                  <a:rPr lang="zh-CN" altLang="en-US" sz="800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网红</a:t>
                </a:r>
                <a:r>
                  <a:rPr lang="en-US" altLang="zh-CN" sz="800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meal-prep</a:t>
                </a:r>
                <a:r>
                  <a:rPr lang="zh-CN" altLang="en-US" sz="800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餐</a:t>
                </a:r>
                <a:r>
                  <a:rPr lang="en-US" altLang="zh-CN" sz="800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&amp;</a:t>
                </a:r>
                <a:r>
                  <a:rPr lang="zh-CN" altLang="en-US" sz="800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花果茶饮 </a:t>
                </a:r>
                <a:r>
                  <a:rPr lang="zh-CN" altLang="en-US" sz="800" b="1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优质</a:t>
                </a:r>
                <a:r>
                  <a:rPr lang="zh-CN" altLang="en-US" sz="800" b="1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教学视频</a:t>
                </a:r>
                <a:endParaRPr lang="zh-CN" altLang="en-US" sz="800" b="1" dirty="0"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148" name="Rectangle 88"/>
              <p:cNvSpPr/>
              <p:nvPr>
                <p:custDataLst>
                  <p:tags r:id="rId7"/>
                </p:custDataLst>
              </p:nvPr>
            </p:nvSpPr>
            <p:spPr>
              <a:xfrm>
                <a:off x="5913" y="6737"/>
                <a:ext cx="2738" cy="347"/>
              </a:xfrm>
              <a:prstGeom prst="rect">
                <a:avLst/>
              </a:prstGeom>
              <a:solidFill>
                <a:schemeClr val="bg1"/>
              </a:solidFill>
              <a:ln w="9525" cap="flat" cmpd="sng">
                <a:solidFill>
                  <a:schemeClr val="bg1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wrap="square" lIns="0" tIns="0" rIns="0" bIns="0">
                <a:spAutoFit/>
              </a:bodyPr>
              <a:p>
                <a:pPr marL="142875" indent="-142875" algn="l" defTabSz="762000" eaLnBrk="0" hangingPunct="0">
                  <a:lnSpc>
                    <a:spcPct val="90000"/>
                  </a:lnSpc>
                </a:pPr>
                <a:r>
                  <a:rPr lang="en-US" altLang="zh-CN" sz="800" b="1" dirty="0">
                    <a:latin typeface="Arial" panose="020B0604020202020204" pitchFamily="34" charset="0"/>
                    <a:ea typeface="宋体" panose="02010600030101010101" pitchFamily="2" charset="-122"/>
                  </a:rPr>
                  <a:t>8 </a:t>
                </a:r>
                <a:r>
                  <a:rPr lang="zh-CN" altLang="en-US" sz="800" b="1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《食材故事》</a:t>
                </a:r>
                <a:r>
                  <a:rPr lang="zh-CN" altLang="en-US" sz="800" dirty="0">
                    <a:latin typeface="Arial" panose="020B0604020202020204" pitchFamily="34" charset="0"/>
                    <a:ea typeface="宋体" panose="02010600030101010101" pitchFamily="2" charset="-122"/>
                    <a:sym typeface="+mn-ea"/>
                  </a:rPr>
                  <a:t>美食食疗纪录片，传递自然温情，文化概念输出</a:t>
                </a:r>
                <a:r>
                  <a:rPr lang="en-US" altLang="zh-CN" sz="800" dirty="0">
                    <a:latin typeface="Arial" panose="020B0604020202020204" pitchFamily="34" charset="0"/>
                    <a:ea typeface="宋体" panose="02010600030101010101" pitchFamily="2" charset="-122"/>
                  </a:rPr>
                  <a:t>	</a:t>
                </a:r>
                <a:endParaRPr lang="zh-CN" altLang="en-US" sz="800" dirty="0"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124" name="Rectangle 51"/>
          <p:cNvSpPr/>
          <p:nvPr>
            <p:custDataLst>
              <p:tags r:id="rId8"/>
            </p:custDataLst>
          </p:nvPr>
        </p:nvSpPr>
        <p:spPr>
          <a:xfrm>
            <a:off x="88265" y="158750"/>
            <a:ext cx="1295400" cy="268605"/>
          </a:xfrm>
          <a:prstGeom prst="rect">
            <a:avLst/>
          </a:prstGeom>
          <a:noFill/>
          <a:ln w="12700">
            <a:noFill/>
          </a:ln>
        </p:spPr>
        <p:txBody>
          <a:bodyPr wrap="none" lIns="90000" rIns="90000" anchor="ctr"/>
          <a:p>
            <a:pPr algn="l" eaLnBrk="0" hangingPunct="0"/>
            <a:endParaRPr lang="de-DE" altLang="zh-CN" sz="1600" dirty="0">
              <a:latin typeface="Arial" panose="020B0604020202020204" pitchFamily="34" charset="0"/>
            </a:endParaRPr>
          </a:p>
        </p:txBody>
      </p:sp>
      <p:sp>
        <p:nvSpPr>
          <p:cNvPr id="126" name="Rectangle 53"/>
          <p:cNvSpPr/>
          <p:nvPr>
            <p:custDataLst>
              <p:tags r:id="rId9"/>
            </p:custDataLst>
          </p:nvPr>
        </p:nvSpPr>
        <p:spPr>
          <a:xfrm>
            <a:off x="3891915" y="1227455"/>
            <a:ext cx="1468120" cy="406400"/>
          </a:xfrm>
          <a:prstGeom prst="rect">
            <a:avLst/>
          </a:prstGeom>
          <a:noFill/>
          <a:ln w="12700">
            <a:noFill/>
          </a:ln>
        </p:spPr>
        <p:txBody>
          <a:bodyPr wrap="none" lIns="90000" rIns="90000" anchor="ctr"/>
          <a:p>
            <a:pPr algn="l" eaLnBrk="0" hangingPunct="0"/>
            <a:endParaRPr lang="de-DE" altLang="zh-CN" sz="1600" dirty="0">
              <a:latin typeface="Arial" panose="020B0604020202020204" pitchFamily="34" charset="0"/>
            </a:endParaRPr>
          </a:p>
        </p:txBody>
      </p:sp>
      <p:sp>
        <p:nvSpPr>
          <p:cNvPr id="127" name="Rectangle 54"/>
          <p:cNvSpPr/>
          <p:nvPr>
            <p:custDataLst>
              <p:tags r:id="rId10"/>
            </p:custDataLst>
          </p:nvPr>
        </p:nvSpPr>
        <p:spPr>
          <a:xfrm>
            <a:off x="4012565" y="1722755"/>
            <a:ext cx="1252220" cy="273050"/>
          </a:xfrm>
          <a:prstGeom prst="rect">
            <a:avLst/>
          </a:prstGeom>
          <a:noFill/>
          <a:ln w="12700">
            <a:noFill/>
          </a:ln>
        </p:spPr>
        <p:txBody>
          <a:bodyPr wrap="none" lIns="90000" rIns="90000" anchor="ctr"/>
          <a:p>
            <a:pPr algn="l" eaLnBrk="0" hangingPunct="0"/>
            <a:endParaRPr lang="de-DE" altLang="zh-CN" sz="1600" dirty="0">
              <a:latin typeface="Arial" panose="020B0604020202020204" pitchFamily="34" charset="0"/>
            </a:endParaRPr>
          </a:p>
        </p:txBody>
      </p:sp>
      <p:sp>
        <p:nvSpPr>
          <p:cNvPr id="128" name="Rectangle 55"/>
          <p:cNvSpPr/>
          <p:nvPr>
            <p:custDataLst>
              <p:tags r:id="rId11"/>
            </p:custDataLst>
          </p:nvPr>
        </p:nvSpPr>
        <p:spPr>
          <a:xfrm>
            <a:off x="2425065" y="3856355"/>
            <a:ext cx="1143000" cy="369570"/>
          </a:xfrm>
          <a:prstGeom prst="rect">
            <a:avLst/>
          </a:prstGeom>
          <a:noFill/>
          <a:ln w="12700">
            <a:noFill/>
          </a:ln>
        </p:spPr>
        <p:txBody>
          <a:bodyPr wrap="none" lIns="90000" rIns="90000" anchor="ctr"/>
          <a:p>
            <a:pPr algn="l" eaLnBrk="0" hangingPunct="0"/>
            <a:endParaRPr lang="de-DE" altLang="zh-CN" sz="1600" dirty="0">
              <a:latin typeface="Arial" panose="020B0604020202020204" pitchFamily="34" charset="0"/>
            </a:endParaRPr>
          </a:p>
        </p:txBody>
      </p:sp>
      <p:grpSp>
        <p:nvGrpSpPr>
          <p:cNvPr id="6" name="组合 5"/>
          <p:cNvGrpSpPr/>
          <p:nvPr/>
        </p:nvGrpSpPr>
        <p:grpSpPr>
          <a:xfrm rot="0">
            <a:off x="988060" y="3724275"/>
            <a:ext cx="3566795" cy="481330"/>
            <a:chOff x="1766" y="7594"/>
            <a:chExt cx="5617" cy="758"/>
          </a:xfrm>
        </p:grpSpPr>
        <p:sp>
          <p:nvSpPr>
            <p:cNvPr id="138" name="Rectangle 69"/>
            <p:cNvSpPr/>
            <p:nvPr>
              <p:custDataLst>
                <p:tags r:id="rId12"/>
              </p:custDataLst>
            </p:nvPr>
          </p:nvSpPr>
          <p:spPr>
            <a:xfrm>
              <a:off x="4717" y="7594"/>
              <a:ext cx="2667" cy="521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>
              <a:spAutoFit/>
            </a:bodyPr>
            <a:p>
              <a:pPr marL="142875" indent="-142875" algn="l" defTabSz="762000" eaLnBrk="0" hangingPunct="0">
                <a:lnSpc>
                  <a:spcPct val="90000"/>
                </a:lnSpc>
              </a:pPr>
              <a:r>
                <a:rPr lang="en-US" altLang="zh-CN" sz="800" dirty="0">
                  <a:latin typeface="Arial" panose="020B0604020202020204" pitchFamily="34" charset="0"/>
                  <a:ea typeface="宋体" panose="02010600030101010101" pitchFamily="2" charset="-122"/>
                </a:rPr>
                <a:t>9 	</a:t>
              </a:r>
              <a:r>
                <a:rPr lang="zh-CN" altLang="en-US" sz="800" dirty="0">
                  <a:latin typeface="Arial" panose="020B0604020202020204" pitchFamily="34" charset="0"/>
                  <a:ea typeface="宋体" panose="02010600030101010101" pitchFamily="2" charset="-122"/>
                  <a:sym typeface="+mn-ea"/>
                </a:rPr>
                <a:t>利用视频积累，打造</a:t>
              </a:r>
              <a:r>
                <a:rPr lang="zh-CN" altLang="en-US" sz="800" b="1" dirty="0">
                  <a:latin typeface="Arial" panose="020B0604020202020204" pitchFamily="34" charset="0"/>
                  <a:ea typeface="宋体" panose="02010600030101010101" pitchFamily="2" charset="-122"/>
                  <a:sym typeface="+mn-ea"/>
                </a:rPr>
                <a:t>厨艺领域的</a:t>
              </a:r>
              <a:r>
                <a:rPr lang="en-US" altLang="zh-CN" sz="800" b="1" dirty="0">
                  <a:latin typeface="Arial" panose="020B0604020202020204" pitchFamily="34" charset="0"/>
                  <a:ea typeface="宋体" panose="02010600030101010101" pitchFamily="2" charset="-122"/>
                  <a:sym typeface="+mn-ea"/>
                </a:rPr>
                <a:t>Keep app</a:t>
              </a:r>
              <a:r>
                <a:rPr lang="zh-CN" altLang="en-US" sz="800" dirty="0">
                  <a:latin typeface="Arial" panose="020B0604020202020204" pitchFamily="34" charset="0"/>
                  <a:ea typeface="宋体" panose="02010600030101010101" pitchFamily="2" charset="-122"/>
                  <a:sym typeface="+mn-ea"/>
                </a:rPr>
                <a:t>，海量视频搜索推荐、</a:t>
              </a:r>
              <a:r>
                <a:rPr lang="zh-CN" altLang="en-US" sz="800" b="1" dirty="0">
                  <a:latin typeface="Arial" panose="020B0604020202020204" pitchFamily="34" charset="0"/>
                  <a:ea typeface="宋体" panose="02010600030101010101" pitchFamily="2" charset="-122"/>
                  <a:sym typeface="+mn-ea"/>
                </a:rPr>
                <a:t>家庭厨房教练</a:t>
              </a:r>
              <a:endPara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endParaRPr>
            </a:p>
          </p:txBody>
        </p:sp>
        <p:sp>
          <p:nvSpPr>
            <p:cNvPr id="149" name="Rectangle 89"/>
            <p:cNvSpPr/>
            <p:nvPr>
              <p:custDataLst>
                <p:tags r:id="rId13"/>
              </p:custDataLst>
            </p:nvPr>
          </p:nvSpPr>
          <p:spPr>
            <a:xfrm>
              <a:off x="1766" y="7832"/>
              <a:ext cx="2104" cy="521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>
              <a:spAutoFit/>
            </a:bodyPr>
            <a:p>
              <a:pPr marL="190500" indent="-190500" algn="l" defTabSz="762000" eaLnBrk="0" hangingPunct="0">
                <a:lnSpc>
                  <a:spcPct val="90000"/>
                </a:lnSpc>
              </a:pPr>
              <a:r>
                <a:rPr lang="en-US" altLang="zh-CN" sz="800" dirty="0">
                  <a:latin typeface="Arial" panose="020B0604020202020204" pitchFamily="34" charset="0"/>
                  <a:ea typeface="宋体" panose="02010600030101010101" pitchFamily="2" charset="-122"/>
                </a:rPr>
                <a:t>10 	App</a:t>
              </a:r>
              <a:r>
                <a:rPr lang="zh-CN" altLang="en-US" sz="800" dirty="0">
                  <a:latin typeface="Arial" panose="020B0604020202020204" pitchFamily="34" charset="0"/>
                  <a:ea typeface="宋体" panose="02010600030101010101" pitchFamily="2" charset="-122"/>
                </a:rPr>
                <a:t>生活家短视频：厨艺博主上传食谱照片</a:t>
              </a:r>
              <a:r>
                <a:rPr lang="en-US" altLang="zh-CN" sz="800" dirty="0">
                  <a:latin typeface="Arial" panose="020B0604020202020204" pitchFamily="34" charset="0"/>
                  <a:ea typeface="宋体" panose="02010600030101010101" pitchFamily="2" charset="-122"/>
                </a:rPr>
                <a:t>/</a:t>
              </a:r>
              <a:r>
                <a:rPr lang="zh-CN" altLang="en-US" sz="800" dirty="0">
                  <a:latin typeface="Arial" panose="020B0604020202020204" pitchFamily="34" charset="0"/>
                  <a:ea typeface="宋体" panose="02010600030101010101" pitchFamily="2" charset="-122"/>
                </a:rPr>
                <a:t>厨艺视频，汇集美好生活瞬间。</a:t>
              </a:r>
              <a:endParaRPr lang="zh-CN" altLang="en-US" sz="800" dirty="0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153" name="Arc 94"/>
          <p:cNvSpPr/>
          <p:nvPr>
            <p:custDataLst>
              <p:tags r:id="rId14"/>
            </p:custDataLst>
          </p:nvPr>
        </p:nvSpPr>
        <p:spPr>
          <a:xfrm rot="16872507" flipH="1" flipV="1">
            <a:off x="4175760" y="3167380"/>
            <a:ext cx="1206500" cy="1190625"/>
          </a:xfrm>
          <a:custGeom>
            <a:avLst/>
            <a:gdLst>
              <a:gd name="txL" fmla="*/ 0 w 20881"/>
              <a:gd name="txT" fmla="*/ 0 h 20711"/>
              <a:gd name="txR" fmla="*/ 20881 w 20881"/>
              <a:gd name="txB" fmla="*/ 20711 h 20711"/>
            </a:gdLst>
            <a:ahLst/>
            <a:cxnLst>
              <a:cxn ang="0">
                <a:pos x="354363" y="0"/>
              </a:cxn>
              <a:cxn ang="0">
                <a:pos x="1206500" y="872834"/>
              </a:cxn>
              <a:cxn ang="0">
                <a:pos x="0" y="1190625"/>
              </a:cxn>
            </a:cxnLst>
            <a:rect l="txL" t="txT" r="txR" b="txB"/>
            <a:pathLst>
              <a:path w="20881" h="20711" fill="none">
                <a:moveTo>
                  <a:pt x="6133" y="-1"/>
                </a:moveTo>
                <a:cubicBezTo>
                  <a:pt x="13361" y="2140"/>
                  <a:pt x="18951" y="7895"/>
                  <a:pt x="20880" y="15183"/>
                </a:cubicBezTo>
              </a:path>
              <a:path w="20881" h="20711" stroke="0">
                <a:moveTo>
                  <a:pt x="6133" y="-1"/>
                </a:moveTo>
                <a:cubicBezTo>
                  <a:pt x="13361" y="2140"/>
                  <a:pt x="18951" y="7895"/>
                  <a:pt x="20880" y="15183"/>
                </a:cubicBezTo>
                <a:lnTo>
                  <a:pt x="0" y="20711"/>
                </a:lnTo>
                <a:close/>
              </a:path>
            </a:pathLst>
          </a:custGeom>
          <a:noFill/>
          <a:ln w="9525" cap="flat" cmpd="sng">
            <a:solidFill>
              <a:schemeClr val="bg2">
                <a:alpha val="100000"/>
              </a:schemeClr>
            </a:solidFill>
            <a:prstDash val="solid"/>
            <a:round/>
            <a:headEnd type="none" w="lg" len="lg"/>
            <a:tailEnd type="stealth" w="lg" len="lg"/>
          </a:ln>
        </p:spPr>
        <p:txBody>
          <a:bodyPr/>
          <a:p>
            <a:endParaRPr lang="zh-CN" altLang="en-US"/>
          </a:p>
        </p:txBody>
      </p:sp>
      <p:graphicFrame>
        <p:nvGraphicFramePr>
          <p:cNvPr id="156" name="图表 155"/>
          <p:cNvGraphicFramePr/>
          <p:nvPr/>
        </p:nvGraphicFramePr>
        <p:xfrm>
          <a:off x="66675" y="-6350"/>
          <a:ext cx="4180205" cy="39128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58" name="文本框 157"/>
          <p:cNvSpPr txBox="1"/>
          <p:nvPr/>
        </p:nvSpPr>
        <p:spPr>
          <a:xfrm rot="18840000">
            <a:off x="2960370" y="2847340"/>
            <a:ext cx="6400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b="1">
                <a:solidFill>
                  <a:schemeClr val="bg1"/>
                </a:solidFill>
              </a:rPr>
              <a:t>服务</a:t>
            </a:r>
            <a:endParaRPr lang="zh-CN" altLang="en-US" b="1">
              <a:solidFill>
                <a:schemeClr val="bg1"/>
              </a:solidFill>
            </a:endParaRPr>
          </a:p>
        </p:txBody>
      </p:sp>
      <p:grpSp>
        <p:nvGrpSpPr>
          <p:cNvPr id="161" name="组合 160"/>
          <p:cNvGrpSpPr/>
          <p:nvPr/>
        </p:nvGrpSpPr>
        <p:grpSpPr>
          <a:xfrm rot="900000" flipH="1">
            <a:off x="1021715" y="741045"/>
            <a:ext cx="2272030" cy="2414905"/>
            <a:chOff x="6817" y="2642"/>
            <a:chExt cx="5754" cy="6117"/>
          </a:xfrm>
        </p:grpSpPr>
        <p:sp>
          <p:nvSpPr>
            <p:cNvPr id="162" name="椭圆 161"/>
            <p:cNvSpPr/>
            <p:nvPr/>
          </p:nvSpPr>
          <p:spPr>
            <a:xfrm>
              <a:off x="6817" y="2827"/>
              <a:ext cx="5754" cy="5754"/>
            </a:xfrm>
            <a:prstGeom prst="ellipse">
              <a:avLst/>
            </a:prstGeom>
            <a:noFill/>
            <a:ln w="19050" cap="rnd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p>
              <a:pPr algn="ctr" defTabSz="914400">
                <a:defRPr/>
              </a:pPr>
              <a:endParaRPr lang="zh-CN" altLang="en-US" sz="2800">
                <a:solidFill>
                  <a:schemeClr val="tx1"/>
                </a:solidFill>
                <a:latin typeface="Bauhaus 93" panose="04030905020B02020C02" pitchFamily="82" charset="0"/>
              </a:endParaRPr>
            </a:p>
          </p:txBody>
        </p:sp>
        <p:sp>
          <p:nvSpPr>
            <p:cNvPr id="163" name="半闭框 162"/>
            <p:cNvSpPr/>
            <p:nvPr/>
          </p:nvSpPr>
          <p:spPr>
            <a:xfrm rot="18922839">
              <a:off x="9676" y="2642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4" name="半闭框 163"/>
            <p:cNvSpPr/>
            <p:nvPr/>
          </p:nvSpPr>
          <p:spPr>
            <a:xfrm rot="15054099">
              <a:off x="7026" y="4041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5" name="半闭框 164"/>
            <p:cNvSpPr/>
            <p:nvPr/>
          </p:nvSpPr>
          <p:spPr>
            <a:xfrm rot="11981181">
              <a:off x="6931" y="6774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6" name="半闭框 165"/>
            <p:cNvSpPr/>
            <p:nvPr/>
          </p:nvSpPr>
          <p:spPr>
            <a:xfrm rot="8111514">
              <a:off x="9238" y="8390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7" name="半闭框 166"/>
            <p:cNvSpPr/>
            <p:nvPr/>
          </p:nvSpPr>
          <p:spPr>
            <a:xfrm rot="4949669">
              <a:off x="11957" y="6964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8" name="半闭框 167"/>
            <p:cNvSpPr/>
            <p:nvPr/>
          </p:nvSpPr>
          <p:spPr>
            <a:xfrm>
              <a:off x="12132" y="4207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169" name="Text Box 83"/>
          <p:cNvSpPr txBox="1"/>
          <p:nvPr>
            <p:custDataLst>
              <p:tags r:id="rId15"/>
            </p:custDataLst>
          </p:nvPr>
        </p:nvSpPr>
        <p:spPr>
          <a:xfrm>
            <a:off x="2374900" y="1101725"/>
            <a:ext cx="589280" cy="201295"/>
          </a:xfrm>
          <a:prstGeom prst="rect">
            <a:avLst/>
          </a:prstGeom>
          <a:noFill/>
          <a:ln w="12700">
            <a:noFill/>
          </a:ln>
        </p:spPr>
        <p:txBody>
          <a:bodyPr wrap="none">
            <a:spAutoFit/>
          </a:bodyPr>
          <a:p>
            <a:pPr algn="l" defTabSz="762000" eaLnBrk="0" hangingPunct="0">
              <a:lnSpc>
                <a:spcPct val="90000"/>
              </a:lnSpc>
              <a:tabLst>
                <a:tab pos="190500" algn="l"/>
              </a:tabLst>
            </a:pP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单点突破</a:t>
            </a:r>
            <a:endParaRPr lang="en-US" altLang="zh-CN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70" name="Text Box 83"/>
          <p:cNvSpPr txBox="1"/>
          <p:nvPr>
            <p:custDataLst>
              <p:tags r:id="rId16"/>
            </p:custDataLst>
          </p:nvPr>
        </p:nvSpPr>
        <p:spPr>
          <a:xfrm>
            <a:off x="2819400" y="2261235"/>
            <a:ext cx="386080" cy="201295"/>
          </a:xfrm>
          <a:prstGeom prst="rect">
            <a:avLst/>
          </a:prstGeom>
          <a:noFill/>
          <a:ln w="12700">
            <a:noFill/>
          </a:ln>
        </p:spPr>
        <p:txBody>
          <a:bodyPr wrap="none">
            <a:spAutoFit/>
          </a:bodyPr>
          <a:p>
            <a:pPr algn="l" defTabSz="762000" eaLnBrk="0" hangingPunct="0">
              <a:lnSpc>
                <a:spcPct val="90000"/>
              </a:lnSpc>
              <a:tabLst>
                <a:tab pos="190500" algn="l"/>
              </a:tabLst>
            </a:pP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流量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 rot="1740000">
            <a:off x="2667635" y="434975"/>
            <a:ext cx="6400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b="1">
                <a:solidFill>
                  <a:schemeClr val="bg1"/>
                </a:solidFill>
              </a:rPr>
              <a:t>产品</a:t>
            </a:r>
            <a:endParaRPr lang="zh-CN" altLang="en-US" b="1">
              <a:solidFill>
                <a:schemeClr val="bg1"/>
              </a:solidFill>
            </a:endParaRPr>
          </a:p>
        </p:txBody>
      </p:sp>
      <p:pic>
        <p:nvPicPr>
          <p:cNvPr id="101" name="图片 100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967480" y="5523230"/>
            <a:ext cx="2190750" cy="84264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798945" y="5612130"/>
            <a:ext cx="1545590" cy="753745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-5080" y="-1155065"/>
            <a:ext cx="12790170" cy="12364720"/>
            <a:chOff x="-2" y="-1808"/>
            <a:chExt cx="20142" cy="19472"/>
          </a:xfrm>
        </p:grpSpPr>
        <p:sp>
          <p:nvSpPr>
            <p:cNvPr id="9" name="矩形 8"/>
            <p:cNvSpPr/>
            <p:nvPr/>
          </p:nvSpPr>
          <p:spPr>
            <a:xfrm rot="21360000">
              <a:off x="-2" y="6489"/>
              <a:ext cx="20143" cy="10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l">
                <a:buClrTx/>
                <a:buSzTx/>
                <a:buFontTx/>
              </a:pPr>
              <a:endParaRPr lang="zh-CN" altLang="en-US"/>
            </a:p>
          </p:txBody>
        </p:sp>
        <p:sp>
          <p:nvSpPr>
            <p:cNvPr id="13" name="矩形 12"/>
            <p:cNvSpPr/>
            <p:nvPr/>
          </p:nvSpPr>
          <p:spPr>
            <a:xfrm rot="17340000">
              <a:off x="3593" y="2528"/>
              <a:ext cx="19473" cy="10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l">
                <a:buClrTx/>
                <a:buSzTx/>
                <a:buFontTx/>
              </a:pPr>
              <a:endParaRPr lang="zh-CN" altLang="en-US"/>
            </a:p>
          </p:txBody>
        </p:sp>
      </p:grpSp>
      <p:sp>
        <p:nvSpPr>
          <p:cNvPr id="20" name="文本框 19"/>
          <p:cNvSpPr txBox="1"/>
          <p:nvPr/>
        </p:nvSpPr>
        <p:spPr>
          <a:xfrm rot="20460000">
            <a:off x="6730365" y="286385"/>
            <a:ext cx="1362710" cy="889635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>
                <a:gd name="adj" fmla="val 51639"/>
              </a:avLst>
            </a:prstTxWarp>
            <a:spAutoFit/>
          </a:bodyPr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service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  <a:p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grpSp>
        <p:nvGrpSpPr>
          <p:cNvPr id="33" name="组合 32"/>
          <p:cNvGrpSpPr/>
          <p:nvPr/>
        </p:nvGrpSpPr>
        <p:grpSpPr>
          <a:xfrm>
            <a:off x="5400040" y="3573145"/>
            <a:ext cx="6789420" cy="1756410"/>
            <a:chOff x="8504" y="5627"/>
            <a:chExt cx="10692" cy="2766"/>
          </a:xfrm>
        </p:grpSpPr>
        <p:grpSp>
          <p:nvGrpSpPr>
            <p:cNvPr id="31" name="组合 30"/>
            <p:cNvGrpSpPr/>
            <p:nvPr/>
          </p:nvGrpSpPr>
          <p:grpSpPr>
            <a:xfrm>
              <a:off x="8504" y="5627"/>
              <a:ext cx="10558" cy="2767"/>
              <a:chOff x="8504" y="5627"/>
              <a:chExt cx="10558" cy="2767"/>
            </a:xfrm>
          </p:grpSpPr>
          <p:pic>
            <p:nvPicPr>
              <p:cNvPr id="16" name="图片 15"/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8504" y="5627"/>
                <a:ext cx="1818" cy="2730"/>
              </a:xfrm>
              <a:prstGeom prst="rect">
                <a:avLst/>
              </a:prstGeom>
            </p:spPr>
          </p:pic>
          <p:grpSp>
            <p:nvGrpSpPr>
              <p:cNvPr id="27" name="组合 26"/>
              <p:cNvGrpSpPr/>
              <p:nvPr/>
            </p:nvGrpSpPr>
            <p:grpSpPr>
              <a:xfrm rot="0">
                <a:off x="10322" y="5774"/>
                <a:ext cx="8740" cy="2620"/>
                <a:chOff x="11317" y="5444"/>
                <a:chExt cx="8740" cy="2620"/>
              </a:xfrm>
            </p:grpSpPr>
            <p:sp>
              <p:nvSpPr>
                <p:cNvPr id="22" name="文本框 21"/>
                <p:cNvSpPr txBox="1"/>
                <p:nvPr/>
              </p:nvSpPr>
              <p:spPr>
                <a:xfrm>
                  <a:off x="11317" y="6390"/>
                  <a:ext cx="2688" cy="72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p>
                  <a:r>
                    <a:rPr lang="zh-CN" altLang="en-US" sz="2400" b="1">
                      <a:solidFill>
                        <a:schemeClr val="bg1"/>
                      </a:solidFill>
                    </a:rPr>
                    <a:t>优质自媒体</a:t>
                  </a:r>
                  <a:endParaRPr lang="zh-CN" altLang="en-US" sz="24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3" name="左大括号 22"/>
                <p:cNvSpPr/>
                <p:nvPr/>
              </p:nvSpPr>
              <p:spPr>
                <a:xfrm>
                  <a:off x="14005" y="5444"/>
                  <a:ext cx="501" cy="2620"/>
                </a:xfrm>
                <a:prstGeom prst="leftBrace">
                  <a:avLst/>
                </a:prstGeom>
                <a:noFill/>
                <a:ln>
                  <a:solidFill>
                    <a:schemeClr val="bg1"/>
                  </a:solidFill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</a:ex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p>
                  <a:pPr algn="ctr"/>
                  <a:endParaRPr lang="zh-CN" altLang="en-US"/>
                </a:p>
              </p:txBody>
            </p:sp>
            <p:sp>
              <p:nvSpPr>
                <p:cNvPr id="24" name="文本框 23"/>
                <p:cNvSpPr txBox="1"/>
                <p:nvPr/>
              </p:nvSpPr>
              <p:spPr>
                <a:xfrm>
                  <a:off x="14346" y="5444"/>
                  <a:ext cx="5221" cy="72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p>
                  <a:r>
                    <a:rPr lang="zh-CN" altLang="en-US" sz="2400" b="1">
                      <a:solidFill>
                        <a:schemeClr val="bg1"/>
                      </a:solidFill>
                    </a:rPr>
                    <a:t>营养学</a:t>
                  </a:r>
                  <a:r>
                    <a:rPr lang="en-US" altLang="zh-CN" sz="2400" b="1">
                      <a:solidFill>
                        <a:schemeClr val="bg1"/>
                      </a:solidFill>
                    </a:rPr>
                    <a:t>/</a:t>
                  </a:r>
                  <a:r>
                    <a:rPr lang="zh-CN" altLang="en-US" sz="2400" b="1">
                      <a:solidFill>
                        <a:schemeClr val="bg1"/>
                      </a:solidFill>
                    </a:rPr>
                    <a:t>中医食疗科普文</a:t>
                  </a:r>
                  <a:endParaRPr lang="zh-CN" altLang="en-US" sz="24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5" name="文本框 24"/>
                <p:cNvSpPr txBox="1"/>
                <p:nvPr/>
              </p:nvSpPr>
              <p:spPr>
                <a:xfrm>
                  <a:off x="14346" y="6300"/>
                  <a:ext cx="5711" cy="72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p>
                  <a:r>
                    <a:rPr lang="zh-CN" altLang="en-US" sz="2400" b="1">
                      <a:solidFill>
                        <a:schemeClr val="bg1"/>
                      </a:solidFill>
                    </a:rPr>
                    <a:t>网红</a:t>
                  </a:r>
                  <a:r>
                    <a:rPr lang="en-US" altLang="zh-CN" sz="2400" b="1">
                      <a:solidFill>
                        <a:schemeClr val="bg1"/>
                      </a:solidFill>
                    </a:rPr>
                    <a:t>meal-prep</a:t>
                  </a:r>
                  <a:r>
                    <a:rPr lang="zh-CN" altLang="en-US" sz="2400" b="1">
                      <a:solidFill>
                        <a:schemeClr val="bg1"/>
                      </a:solidFill>
                    </a:rPr>
                    <a:t>教学视频</a:t>
                  </a:r>
                  <a:endParaRPr lang="zh-CN" altLang="en-US" sz="24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6" name="文本框 25"/>
                <p:cNvSpPr txBox="1"/>
                <p:nvPr/>
              </p:nvSpPr>
              <p:spPr>
                <a:xfrm>
                  <a:off x="14079" y="7159"/>
                  <a:ext cx="5711" cy="72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p>
                  <a:r>
                    <a:rPr lang="zh-CN" altLang="en-US" sz="2400" b="1">
                      <a:solidFill>
                        <a:schemeClr val="bg1"/>
                      </a:solidFill>
                    </a:rPr>
                    <a:t>《食材故事》温情纪录片</a:t>
                  </a:r>
                  <a:endParaRPr lang="zh-CN" altLang="en-US" sz="2400" b="1">
                    <a:solidFill>
                      <a:schemeClr val="bg1"/>
                    </a:solidFill>
                  </a:endParaRPr>
                </a:p>
              </p:txBody>
            </p:sp>
          </p:grpSp>
        </p:grpSp>
        <p:pic>
          <p:nvPicPr>
            <p:cNvPr id="28" name="图片 27" descr="u=3088105948,3359690730&amp;fm=179&amp;app=42&amp;f=JPEG[1]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8488" y="7355"/>
              <a:ext cx="708" cy="970"/>
            </a:xfrm>
            <a:prstGeom prst="rect">
              <a:avLst/>
            </a:prstGeom>
          </p:spPr>
        </p:pic>
      </p:grpSp>
      <p:grpSp>
        <p:nvGrpSpPr>
          <p:cNvPr id="32" name="组合 31"/>
          <p:cNvGrpSpPr/>
          <p:nvPr/>
        </p:nvGrpSpPr>
        <p:grpSpPr>
          <a:xfrm>
            <a:off x="1101090" y="5245100"/>
            <a:ext cx="9048750" cy="1361440"/>
            <a:chOff x="1734" y="8260"/>
            <a:chExt cx="14250" cy="2144"/>
          </a:xfrm>
        </p:grpSpPr>
        <p:pic>
          <p:nvPicPr>
            <p:cNvPr id="17" name="图片 16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1734" y="8260"/>
              <a:ext cx="4395" cy="2144"/>
            </a:xfrm>
            <a:prstGeom prst="rect">
              <a:avLst/>
            </a:prstGeom>
          </p:spPr>
        </p:pic>
        <p:sp>
          <p:nvSpPr>
            <p:cNvPr id="29" name="文本框 28"/>
            <p:cNvSpPr txBox="1"/>
            <p:nvPr/>
          </p:nvSpPr>
          <p:spPr>
            <a:xfrm>
              <a:off x="6524" y="8999"/>
              <a:ext cx="9461" cy="13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pPr algn="ctr"/>
              <a:r>
                <a:rPr lang="zh-CN" altLang="en-US" sz="2400" b="1">
                  <a:solidFill>
                    <a:schemeClr val="bg1"/>
                  </a:solidFill>
                </a:rPr>
                <a:t>打造厨艺</a:t>
              </a:r>
              <a:r>
                <a:rPr lang="en-US" altLang="zh-CN" sz="2400" b="1">
                  <a:solidFill>
                    <a:schemeClr val="bg1"/>
                  </a:solidFill>
                </a:rPr>
                <a:t>keep </a:t>
              </a:r>
              <a:r>
                <a:rPr lang="zh-CN" altLang="en-US" sz="2400" b="1">
                  <a:solidFill>
                    <a:schemeClr val="bg1"/>
                  </a:solidFill>
                </a:rPr>
                <a:t>海量视频推荐  家庭厨房</a:t>
              </a:r>
              <a:r>
                <a:rPr lang="zh-CN" altLang="en-US" sz="2400" b="1">
                  <a:solidFill>
                    <a:schemeClr val="bg1"/>
                  </a:solidFill>
                </a:rPr>
                <a:t>教练</a:t>
              </a:r>
              <a:endParaRPr lang="zh-CN" altLang="en-US" sz="2400" b="1">
                <a:solidFill>
                  <a:schemeClr val="bg1"/>
                </a:solidFill>
              </a:endParaRPr>
            </a:p>
            <a:p>
              <a:pPr algn="ctr"/>
              <a:r>
                <a:rPr lang="zh-CN" altLang="en-US" sz="2400" b="1">
                  <a:solidFill>
                    <a:schemeClr val="bg1"/>
                  </a:solidFill>
                </a:rPr>
                <a:t>厨艺博主短视频  汇集美好生活瞬间</a:t>
              </a:r>
              <a:r>
                <a:rPr lang="zh-CN" altLang="en-US" sz="2400" b="1">
                  <a:solidFill>
                    <a:schemeClr val="bg1"/>
                  </a:solidFill>
                </a:rPr>
                <a:t> </a:t>
              </a:r>
              <a:endParaRPr lang="zh-CN" altLang="en-US" sz="24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6510655" y="1029335"/>
            <a:ext cx="5770880" cy="2261235"/>
            <a:chOff x="10253" y="1621"/>
            <a:chExt cx="9088" cy="3561"/>
          </a:xfrm>
        </p:grpSpPr>
        <p:pic>
          <p:nvPicPr>
            <p:cNvPr id="15" name="图片 14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10429" y="2423"/>
              <a:ext cx="5179" cy="1992"/>
            </a:xfrm>
            <a:prstGeom prst="rect">
              <a:avLst/>
            </a:prstGeom>
          </p:spPr>
        </p:pic>
        <p:sp>
          <p:nvSpPr>
            <p:cNvPr id="19" name="文本框 18"/>
            <p:cNvSpPr txBox="1"/>
            <p:nvPr/>
          </p:nvSpPr>
          <p:spPr>
            <a:xfrm>
              <a:off x="10253" y="1621"/>
              <a:ext cx="9088" cy="7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 sz="2400" b="1">
                  <a:solidFill>
                    <a:schemeClr val="bg1"/>
                  </a:solidFill>
                </a:rPr>
                <a:t>大数据饮食规划</a:t>
              </a:r>
              <a:r>
                <a:rPr lang="en-US" altLang="zh-CN" sz="2400" b="1">
                  <a:solidFill>
                    <a:schemeClr val="bg1"/>
                  </a:solidFill>
                </a:rPr>
                <a:t>:</a:t>
              </a:r>
              <a:r>
                <a:rPr lang="zh-CN" altLang="en-US" sz="2400" b="1">
                  <a:solidFill>
                    <a:schemeClr val="bg1"/>
                  </a:solidFill>
                </a:rPr>
                <a:t>永久免费の</a:t>
              </a:r>
              <a:r>
                <a:rPr lang="zh-CN" altLang="en-US" sz="2400" b="1">
                  <a:solidFill>
                    <a:schemeClr val="bg1"/>
                  </a:solidFill>
                </a:rPr>
                <a:t>私人定制菜单</a:t>
              </a:r>
              <a:endParaRPr lang="zh-CN" altLang="en-US" sz="2400" b="1">
                <a:solidFill>
                  <a:schemeClr val="bg1"/>
                </a:solidFill>
              </a:endParaRP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11348" y="4458"/>
              <a:ext cx="5221" cy="7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2400" b="1">
                  <a:solidFill>
                    <a:schemeClr val="bg1"/>
                  </a:solidFill>
                </a:rPr>
                <a:t>会员制 追踪式饮食管理</a:t>
              </a:r>
              <a:endParaRPr lang="zh-CN" altLang="en-US" sz="2400" b="1">
                <a:solidFill>
                  <a:schemeClr val="bg1"/>
                </a:solidFill>
              </a:endParaRPr>
            </a:p>
          </p:txBody>
        </p:sp>
        <p:pic>
          <p:nvPicPr>
            <p:cNvPr id="30" name="图片 29" descr="timg6QSH53CC"/>
            <p:cNvPicPr>
              <a:picLocks noChangeAspect="1"/>
            </p:cNvPicPr>
            <p:nvPr/>
          </p:nvPicPr>
          <p:blipFill>
            <a:blip r:embed="rId21"/>
            <a:srcRect l="5856" t="15758" r="2379" b="11000"/>
            <a:stretch>
              <a:fillRect/>
            </a:stretch>
          </p:blipFill>
          <p:spPr>
            <a:xfrm>
              <a:off x="15860" y="2327"/>
              <a:ext cx="2549" cy="2035"/>
            </a:xfrm>
            <a:prstGeom prst="snip1Rect">
              <a:avLst/>
            </a:prstGeom>
          </p:spPr>
        </p:pic>
      </p:grpSp>
    </p:spTree>
  </p:cSld>
  <p:clrMapOvr>
    <a:masterClrMapping/>
  </p:clrMapOvr>
  <p:transition>
    <p:pull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矩形 25"/>
          <p:cNvSpPr/>
          <p:nvPr/>
        </p:nvSpPr>
        <p:spPr>
          <a:xfrm rot="20640000">
            <a:off x="264160" y="-43180"/>
            <a:ext cx="1279080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>
              <a:buClrTx/>
              <a:buSzTx/>
              <a:buFontTx/>
            </a:pPr>
            <a:endParaRPr lang="zh-CN" altLang="en-US"/>
          </a:p>
        </p:txBody>
      </p:sp>
      <p:sp>
        <p:nvSpPr>
          <p:cNvPr id="28" name="文本框 27"/>
          <p:cNvSpPr txBox="1"/>
          <p:nvPr/>
        </p:nvSpPr>
        <p:spPr>
          <a:xfrm rot="20580000">
            <a:off x="372745" y="170180"/>
            <a:ext cx="1139825" cy="1188720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>
                <a:gd name="adj" fmla="val 51639"/>
              </a:avLst>
            </a:prstTxWarp>
            <a:spAutoFit/>
          </a:bodyPr>
          <a:p>
            <a:r>
              <a:rPr lang="en-US" altLang="zh-CN" spc="1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Impact" panose="020B0806030902050204" pitchFamily="34" charset="0"/>
                <a:cs typeface="Arial" panose="020B0604020202020204" pitchFamily="34" charset="0"/>
              </a:rPr>
              <a:t>vision</a:t>
            </a:r>
            <a:endParaRPr lang="zh-CN" altLang="en-US" spc="100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Impact" panose="020B0806030902050204" pitchFamily="34" charset="0"/>
              <a:cs typeface="Arial" panose="020B0604020202020204" pitchFamily="34" charset="0"/>
            </a:endParaRPr>
          </a:p>
          <a:p>
            <a:r>
              <a:rPr lang="zh-CN" altLang="en-US" spc="1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Impact" panose="020B0806030902050204" pitchFamily="34" charset="0"/>
                <a:cs typeface="Arial" panose="020B0604020202020204" pitchFamily="34" charset="0"/>
              </a:rPr>
              <a:t>愿景</a:t>
            </a:r>
            <a:endParaRPr lang="zh-CN" altLang="en-US" spc="100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Rectangle 70"/>
          <p:cNvSpPr/>
          <p:nvPr>
            <p:custDataLst>
              <p:tags r:id="rId1"/>
            </p:custDataLst>
          </p:nvPr>
        </p:nvSpPr>
        <p:spPr>
          <a:xfrm>
            <a:off x="1250950" y="4818380"/>
            <a:ext cx="6235700" cy="24828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90500" indent="-190500" algn="l" defTabSz="762000" eaLnBrk="0" hangingPunct="0">
              <a:lnSpc>
                <a:spcPct val="90000"/>
              </a:lnSpc>
            </a:pPr>
            <a:endParaRPr lang="zh-CN" altLang="en-US" b="1" dirty="0">
              <a:solidFill>
                <a:schemeClr val="bg1"/>
              </a:solidFill>
              <a:latin typeface="+mn-ea"/>
              <a:cs typeface="+mn-ea"/>
              <a:sym typeface="+mn-ea"/>
            </a:endParaRPr>
          </a:p>
        </p:txBody>
      </p:sp>
      <p:sp>
        <p:nvSpPr>
          <p:cNvPr id="4" name="Arc 3"/>
          <p:cNvSpPr/>
          <p:nvPr>
            <p:custDataLst>
              <p:tags r:id="rId2"/>
            </p:custDataLst>
          </p:nvPr>
        </p:nvSpPr>
        <p:spPr>
          <a:xfrm>
            <a:off x="7622722" y="2959390"/>
            <a:ext cx="7797220" cy="7797220"/>
          </a:xfrm>
          <a:prstGeom prst="arc">
            <a:avLst>
              <a:gd name="adj1" fmla="val 10815889"/>
              <a:gd name="adj2" fmla="val 16771066"/>
            </a:avLst>
          </a:prstGeom>
          <a:ln w="57150">
            <a:solidFill>
              <a:sysClr val="window" lastClr="FFFFFF">
                <a:lumMod val="85000"/>
              </a:sysClr>
            </a:solidFill>
          </a:ln>
        </p:spPr>
        <p:style>
          <a:lnRef idx="1">
            <a:srgbClr val="1F74AD"/>
          </a:lnRef>
          <a:fillRef idx="0">
            <a:srgbClr val="1F74AD"/>
          </a:fillRef>
          <a:effectRef idx="0">
            <a:srgbClr val="1F74AD"/>
          </a:effectRef>
          <a:fontRef idx="minor">
            <a:srgbClr val="000000"/>
          </a:fontRef>
        </p:style>
        <p:txBody>
          <a:bodyPr rtlCol="0" anchor="ctr"/>
          <a:p>
            <a:pPr algn="ctr"/>
            <a:endParaRPr lang="id-ID">
              <a:solidFill>
                <a:schemeClr val="bg1"/>
              </a:solidFill>
            </a:endParaRPr>
          </a:p>
        </p:txBody>
      </p:sp>
      <p:sp>
        <p:nvSpPr>
          <p:cNvPr id="5" name="Oval 4"/>
          <p:cNvSpPr/>
          <p:nvPr>
            <p:custDataLst>
              <p:tags r:id="rId3"/>
            </p:custDataLst>
          </p:nvPr>
        </p:nvSpPr>
        <p:spPr>
          <a:xfrm>
            <a:off x="7978841" y="4914661"/>
            <a:ext cx="221288" cy="221288"/>
          </a:xfrm>
          <a:prstGeom prst="ellipse">
            <a:avLst/>
          </a:prstGeom>
          <a:ln>
            <a:noFill/>
          </a:ln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rtlCol="0" anchor="ctr"/>
          <a:p>
            <a:pPr algn="ctr"/>
            <a:endParaRPr lang="id-ID"/>
          </a:p>
        </p:txBody>
      </p:sp>
      <p:sp>
        <p:nvSpPr>
          <p:cNvPr id="6" name="Oval 5"/>
          <p:cNvSpPr/>
          <p:nvPr>
            <p:custDataLst>
              <p:tags r:id="rId4"/>
            </p:custDataLst>
          </p:nvPr>
        </p:nvSpPr>
        <p:spPr>
          <a:xfrm>
            <a:off x="8733821" y="3919875"/>
            <a:ext cx="221288" cy="221288"/>
          </a:xfrm>
          <a:prstGeom prst="ellipse">
            <a:avLst/>
          </a:prstGeom>
          <a:ln>
            <a:noFill/>
          </a:ln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rtlCol="0" anchor="ctr"/>
          <a:p>
            <a:pPr algn="ctr"/>
            <a:endParaRPr lang="id-ID"/>
          </a:p>
        </p:txBody>
      </p:sp>
      <p:sp>
        <p:nvSpPr>
          <p:cNvPr id="7" name="Oval 6"/>
          <p:cNvSpPr/>
          <p:nvPr>
            <p:custDataLst>
              <p:tags r:id="rId5"/>
            </p:custDataLst>
          </p:nvPr>
        </p:nvSpPr>
        <p:spPr>
          <a:xfrm>
            <a:off x="10012112" y="3129639"/>
            <a:ext cx="221288" cy="221288"/>
          </a:xfrm>
          <a:prstGeom prst="ellipse">
            <a:avLst/>
          </a:prstGeom>
          <a:ln>
            <a:noFill/>
          </a:ln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rtlCol="0" anchor="ctr"/>
          <a:p>
            <a:pPr algn="ctr"/>
            <a:endParaRPr lang="id-ID"/>
          </a:p>
        </p:txBody>
      </p:sp>
      <p:sp>
        <p:nvSpPr>
          <p:cNvPr id="24" name="TextBox 23"/>
          <p:cNvSpPr txBox="1"/>
          <p:nvPr>
            <p:custDataLst>
              <p:tags r:id="rId6"/>
            </p:custDataLst>
          </p:nvPr>
        </p:nvSpPr>
        <p:spPr>
          <a:xfrm>
            <a:off x="8276329" y="4897659"/>
            <a:ext cx="872168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id-ID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en-US" altLang="id-ID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TextBox 24"/>
          <p:cNvSpPr txBox="1"/>
          <p:nvPr>
            <p:custDataLst>
              <p:tags r:id="rId7"/>
            </p:custDataLst>
          </p:nvPr>
        </p:nvSpPr>
        <p:spPr>
          <a:xfrm>
            <a:off x="9061606" y="3876630"/>
            <a:ext cx="872168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id-ID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en-US" altLang="id-ID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extBox 25"/>
          <p:cNvSpPr txBox="1"/>
          <p:nvPr>
            <p:custDataLst>
              <p:tags r:id="rId8"/>
            </p:custDataLst>
          </p:nvPr>
        </p:nvSpPr>
        <p:spPr>
          <a:xfrm>
            <a:off x="10232765" y="3216476"/>
            <a:ext cx="872168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id-ID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en-US" altLang="id-ID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9" name="Group 28"/>
          <p:cNvGrpSpPr/>
          <p:nvPr>
            <p:custDataLst>
              <p:tags r:id="rId9"/>
            </p:custDataLst>
          </p:nvPr>
        </p:nvGrpSpPr>
        <p:grpSpPr>
          <a:xfrm flipH="1">
            <a:off x="5474058" y="4701799"/>
            <a:ext cx="2367543" cy="252925"/>
            <a:chOff x="2092860" y="2757465"/>
            <a:chExt cx="2439003" cy="240523"/>
          </a:xfrm>
        </p:grpSpPr>
        <p:cxnSp>
          <p:nvCxnSpPr>
            <p:cNvPr id="31" name="Straight Connector 30"/>
            <p:cNvCxnSpPr/>
            <p:nvPr>
              <p:custDataLst>
                <p:tags r:id="rId10"/>
              </p:custDataLst>
            </p:nvPr>
          </p:nvCxnSpPr>
          <p:spPr>
            <a:xfrm flipH="1">
              <a:off x="2092860" y="2757465"/>
              <a:ext cx="1880237" cy="240523"/>
            </a:xfrm>
            <a:prstGeom prst="line">
              <a:avLst/>
            </a:prstGeom>
            <a:ln w="12700">
              <a:solidFill>
                <a:sysClr val="window" lastClr="FFFFFF">
                  <a:lumMod val="65000"/>
                </a:sysClr>
              </a:solidFill>
              <a:headEnd type="none"/>
              <a:tailEnd type="oval"/>
            </a:ln>
          </p:spPr>
          <p:style>
            <a:lnRef idx="1">
              <a:srgbClr val="1F74AD"/>
            </a:lnRef>
            <a:fillRef idx="0">
              <a:srgbClr val="1F74AD"/>
            </a:fillRef>
            <a:effectRef idx="0">
              <a:srgbClr val="1F74AD"/>
            </a:effectRef>
            <a:fontRef idx="minor">
              <a:srgbClr val="000000"/>
            </a:fontRef>
          </p:style>
        </p:cxnSp>
        <p:cxnSp>
          <p:nvCxnSpPr>
            <p:cNvPr id="32" name="Straight Connector 31"/>
            <p:cNvCxnSpPr/>
            <p:nvPr>
              <p:custDataLst>
                <p:tags r:id="rId11"/>
              </p:custDataLst>
            </p:nvPr>
          </p:nvCxnSpPr>
          <p:spPr>
            <a:xfrm flipH="1" flipV="1">
              <a:off x="3973098" y="2757465"/>
              <a:ext cx="558765" cy="907"/>
            </a:xfrm>
            <a:prstGeom prst="line">
              <a:avLst/>
            </a:prstGeom>
            <a:ln w="12700">
              <a:solidFill>
                <a:sysClr val="window" lastClr="FFFFFF">
                  <a:lumMod val="65000"/>
                </a:sysClr>
              </a:solidFill>
            </a:ln>
          </p:spPr>
          <p:style>
            <a:lnRef idx="1">
              <a:srgbClr val="1F74AD"/>
            </a:lnRef>
            <a:fillRef idx="0">
              <a:srgbClr val="1F74AD"/>
            </a:fillRef>
            <a:effectRef idx="0">
              <a:srgbClr val="1F74AD"/>
            </a:effectRef>
            <a:fontRef idx="minor">
              <a:srgbClr val="000000"/>
            </a:fontRef>
          </p:style>
        </p:cxnSp>
      </p:grpSp>
      <p:sp>
        <p:nvSpPr>
          <p:cNvPr id="30" name="Oval 29"/>
          <p:cNvSpPr/>
          <p:nvPr>
            <p:custDataLst>
              <p:tags r:id="rId12"/>
            </p:custDataLst>
          </p:nvPr>
        </p:nvSpPr>
        <p:spPr>
          <a:xfrm flipH="1">
            <a:off x="5301835" y="4601634"/>
            <a:ext cx="184919" cy="200322"/>
          </a:xfrm>
          <a:prstGeom prst="ellipse">
            <a:avLst/>
          </a:prstGeom>
          <a:solidFill>
            <a:sysClr val="window" lastClr="FFFFFF">
              <a:lumMod val="85000"/>
            </a:sysClr>
          </a:solidFill>
          <a:ln>
            <a:noFill/>
          </a:ln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rtlCol="0" anchor="ctr"/>
          <a:p>
            <a:pPr algn="ctr"/>
            <a:endParaRPr lang="id-ID"/>
          </a:p>
        </p:txBody>
      </p:sp>
      <p:sp>
        <p:nvSpPr>
          <p:cNvPr id="37" name="Oval 36"/>
          <p:cNvSpPr/>
          <p:nvPr>
            <p:custDataLst>
              <p:tags r:id="rId13"/>
            </p:custDataLst>
          </p:nvPr>
        </p:nvSpPr>
        <p:spPr>
          <a:xfrm>
            <a:off x="4487549" y="4400106"/>
            <a:ext cx="736265" cy="736265"/>
          </a:xfrm>
          <a:prstGeom prst="ellipse">
            <a:avLst/>
          </a:prstGeom>
          <a:ln>
            <a:noFill/>
          </a:ln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rtlCol="0" anchor="ctr"/>
          <a:p>
            <a:pPr algn="ctr"/>
            <a:endParaRPr lang="id-ID"/>
          </a:p>
        </p:txBody>
      </p:sp>
      <p:grpSp>
        <p:nvGrpSpPr>
          <p:cNvPr id="34" name="Group 33"/>
          <p:cNvGrpSpPr/>
          <p:nvPr>
            <p:custDataLst>
              <p:tags r:id="rId14"/>
            </p:custDataLst>
          </p:nvPr>
        </p:nvGrpSpPr>
        <p:grpSpPr>
          <a:xfrm>
            <a:off x="4647135" y="4581758"/>
            <a:ext cx="372962" cy="372962"/>
            <a:chOff x="2005013" y="1077913"/>
            <a:chExt cx="688975" cy="688975"/>
          </a:xfrm>
          <a:solidFill>
            <a:sysClr val="window" lastClr="FFFFFF"/>
          </a:solidFill>
        </p:grpSpPr>
        <p:sp>
          <p:nvSpPr>
            <p:cNvPr id="35" name="Freeform 5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auto">
            <a:xfrm>
              <a:off x="2005013" y="1077913"/>
              <a:ext cx="688975" cy="688975"/>
            </a:xfrm>
            <a:custGeom>
              <a:avLst/>
              <a:gdLst>
                <a:gd name="T0" fmla="*/ 8083 w 16058"/>
                <a:gd name="T1" fmla="*/ 10645 h 16058"/>
                <a:gd name="T2" fmla="*/ 6322 w 16058"/>
                <a:gd name="T3" fmla="*/ 9396 h 16058"/>
                <a:gd name="T4" fmla="*/ 5244 w 16058"/>
                <a:gd name="T5" fmla="*/ 7514 h 16058"/>
                <a:gd name="T6" fmla="*/ 5076 w 16058"/>
                <a:gd name="T7" fmla="*/ 5258 h 16058"/>
                <a:gd name="T8" fmla="*/ 5875 w 16058"/>
                <a:gd name="T9" fmla="*/ 3217 h 16058"/>
                <a:gd name="T10" fmla="*/ 7435 w 16058"/>
                <a:gd name="T11" fmla="*/ 1730 h 16058"/>
                <a:gd name="T12" fmla="*/ 9523 w 16058"/>
                <a:gd name="T13" fmla="*/ 1030 h 16058"/>
                <a:gd name="T14" fmla="*/ 11761 w 16058"/>
                <a:gd name="T15" fmla="*/ 1308 h 16058"/>
                <a:gd name="T16" fmla="*/ 13584 w 16058"/>
                <a:gd name="T17" fmla="*/ 2474 h 16058"/>
                <a:gd name="T18" fmla="*/ 14750 w 16058"/>
                <a:gd name="T19" fmla="*/ 4297 h 16058"/>
                <a:gd name="T20" fmla="*/ 15028 w 16058"/>
                <a:gd name="T21" fmla="*/ 6535 h 16058"/>
                <a:gd name="T22" fmla="*/ 14328 w 16058"/>
                <a:gd name="T23" fmla="*/ 8624 h 16058"/>
                <a:gd name="T24" fmla="*/ 12841 w 16058"/>
                <a:gd name="T25" fmla="*/ 10183 h 16058"/>
                <a:gd name="T26" fmla="*/ 10800 w 16058"/>
                <a:gd name="T27" fmla="*/ 10982 h 16058"/>
                <a:gd name="T28" fmla="*/ 2326 w 16058"/>
                <a:gd name="T29" fmla="*/ 14973 h 16058"/>
                <a:gd name="T30" fmla="*/ 2162 w 16058"/>
                <a:gd name="T31" fmla="*/ 15080 h 16058"/>
                <a:gd name="T32" fmla="*/ 1975 w 16058"/>
                <a:gd name="T33" fmla="*/ 15148 h 16058"/>
                <a:gd name="T34" fmla="*/ 1771 w 16058"/>
                <a:gd name="T35" fmla="*/ 15172 h 16058"/>
                <a:gd name="T36" fmla="*/ 1387 w 16058"/>
                <a:gd name="T37" fmla="*/ 15084 h 16058"/>
                <a:gd name="T38" fmla="*/ 1088 w 16058"/>
                <a:gd name="T39" fmla="*/ 14850 h 16058"/>
                <a:gd name="T40" fmla="*/ 913 w 16058"/>
                <a:gd name="T41" fmla="*/ 14508 h 16058"/>
                <a:gd name="T42" fmla="*/ 890 w 16058"/>
                <a:gd name="T43" fmla="*/ 14194 h 16058"/>
                <a:gd name="T44" fmla="*/ 935 w 16058"/>
                <a:gd name="T45" fmla="*/ 13998 h 16058"/>
                <a:gd name="T46" fmla="*/ 1021 w 16058"/>
                <a:gd name="T47" fmla="*/ 13820 h 16058"/>
                <a:gd name="T48" fmla="*/ 1142 w 16058"/>
                <a:gd name="T49" fmla="*/ 13667 h 16058"/>
                <a:gd name="T50" fmla="*/ 5408 w 16058"/>
                <a:gd name="T51" fmla="*/ 9863 h 16058"/>
                <a:gd name="T52" fmla="*/ 5742 w 16058"/>
                <a:gd name="T53" fmla="*/ 10234 h 16058"/>
                <a:gd name="T54" fmla="*/ 6106 w 16058"/>
                <a:gd name="T55" fmla="*/ 10575 h 16058"/>
                <a:gd name="T56" fmla="*/ 2407 w 16058"/>
                <a:gd name="T57" fmla="*/ 14900 h 16058"/>
                <a:gd name="T58" fmla="*/ 7693 w 16058"/>
                <a:gd name="T59" fmla="*/ 474 h 16058"/>
                <a:gd name="T60" fmla="*/ 5579 w 16058"/>
                <a:gd name="T61" fmla="*/ 1973 h 16058"/>
                <a:gd name="T62" fmla="*/ 4285 w 16058"/>
                <a:gd name="T63" fmla="*/ 4231 h 16058"/>
                <a:gd name="T64" fmla="*/ 4022 w 16058"/>
                <a:gd name="T65" fmla="*/ 6306 h 16058"/>
                <a:gd name="T66" fmla="*/ 4119 w 16058"/>
                <a:gd name="T67" fmla="*/ 7138 h 16058"/>
                <a:gd name="T68" fmla="*/ 4326 w 16058"/>
                <a:gd name="T69" fmla="*/ 7930 h 16058"/>
                <a:gd name="T70" fmla="*/ 4634 w 16058"/>
                <a:gd name="T71" fmla="*/ 8676 h 16058"/>
                <a:gd name="T72" fmla="*/ 386 w 16058"/>
                <a:gd name="T73" fmla="*/ 13185 h 16058"/>
                <a:gd name="T74" fmla="*/ 179 w 16058"/>
                <a:gd name="T75" fmla="*/ 13512 h 16058"/>
                <a:gd name="T76" fmla="*/ 46 w 16058"/>
                <a:gd name="T77" fmla="*/ 13883 h 16058"/>
                <a:gd name="T78" fmla="*/ 0 w 16058"/>
                <a:gd name="T79" fmla="*/ 14287 h 16058"/>
                <a:gd name="T80" fmla="*/ 175 w 16058"/>
                <a:gd name="T81" fmla="*/ 15054 h 16058"/>
                <a:gd name="T82" fmla="*/ 644 w 16058"/>
                <a:gd name="T83" fmla="*/ 15654 h 16058"/>
                <a:gd name="T84" fmla="*/ 1329 w 16058"/>
                <a:gd name="T85" fmla="*/ 16002 h 16058"/>
                <a:gd name="T86" fmla="*/ 1954 w 16058"/>
                <a:gd name="T87" fmla="*/ 16049 h 16058"/>
                <a:gd name="T88" fmla="*/ 2344 w 16058"/>
                <a:gd name="T89" fmla="*/ 15963 h 16058"/>
                <a:gd name="T90" fmla="*/ 2698 w 16058"/>
                <a:gd name="T91" fmla="*/ 15795 h 16058"/>
                <a:gd name="T92" fmla="*/ 3003 w 16058"/>
                <a:gd name="T93" fmla="*/ 15557 h 16058"/>
                <a:gd name="T94" fmla="*/ 7703 w 16058"/>
                <a:gd name="T95" fmla="*/ 11572 h 16058"/>
                <a:gd name="T96" fmla="*/ 8472 w 16058"/>
                <a:gd name="T97" fmla="*/ 11837 h 16058"/>
                <a:gd name="T98" fmla="*/ 9285 w 16058"/>
                <a:gd name="T99" fmla="*/ 11996 h 16058"/>
                <a:gd name="T100" fmla="*/ 10346 w 16058"/>
                <a:gd name="T101" fmla="*/ 12035 h 16058"/>
                <a:gd name="T102" fmla="*/ 12907 w 16058"/>
                <a:gd name="T103" fmla="*/ 11317 h 16058"/>
                <a:gd name="T104" fmla="*/ 14862 w 16058"/>
                <a:gd name="T105" fmla="*/ 9625 h 16058"/>
                <a:gd name="T106" fmla="*/ 15936 w 16058"/>
                <a:gd name="T107" fmla="*/ 7235 h 16058"/>
                <a:gd name="T108" fmla="*/ 15868 w 16058"/>
                <a:gd name="T109" fmla="*/ 4517 h 16058"/>
                <a:gd name="T110" fmla="*/ 14683 w 16058"/>
                <a:gd name="T111" fmla="*/ 2191 h 16058"/>
                <a:gd name="T112" fmla="*/ 12647 w 16058"/>
                <a:gd name="T113" fmla="*/ 594 h 16058"/>
                <a:gd name="T114" fmla="*/ 10036 w 16058"/>
                <a:gd name="T115" fmla="*/ 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58" h="16058">
                  <a:moveTo>
                    <a:pt x="10036" y="11040"/>
                  </a:moveTo>
                  <a:lnTo>
                    <a:pt x="9778" y="11034"/>
                  </a:lnTo>
                  <a:lnTo>
                    <a:pt x="9523" y="11014"/>
                  </a:lnTo>
                  <a:lnTo>
                    <a:pt x="9272" y="10982"/>
                  </a:lnTo>
                  <a:lnTo>
                    <a:pt x="9025" y="10938"/>
                  </a:lnTo>
                  <a:lnTo>
                    <a:pt x="8783" y="10882"/>
                  </a:lnTo>
                  <a:lnTo>
                    <a:pt x="8544" y="10814"/>
                  </a:lnTo>
                  <a:lnTo>
                    <a:pt x="8311" y="10736"/>
                  </a:lnTo>
                  <a:lnTo>
                    <a:pt x="8083" y="10645"/>
                  </a:lnTo>
                  <a:lnTo>
                    <a:pt x="7860" y="10545"/>
                  </a:lnTo>
                  <a:lnTo>
                    <a:pt x="7645" y="10434"/>
                  </a:lnTo>
                  <a:lnTo>
                    <a:pt x="7435" y="10313"/>
                  </a:lnTo>
                  <a:lnTo>
                    <a:pt x="7231" y="10183"/>
                  </a:lnTo>
                  <a:lnTo>
                    <a:pt x="7034" y="10043"/>
                  </a:lnTo>
                  <a:lnTo>
                    <a:pt x="6845" y="9894"/>
                  </a:lnTo>
                  <a:lnTo>
                    <a:pt x="6662" y="9736"/>
                  </a:lnTo>
                  <a:lnTo>
                    <a:pt x="6488" y="9570"/>
                  </a:lnTo>
                  <a:lnTo>
                    <a:pt x="6322" y="9396"/>
                  </a:lnTo>
                  <a:lnTo>
                    <a:pt x="6164" y="9213"/>
                  </a:lnTo>
                  <a:lnTo>
                    <a:pt x="6015" y="9024"/>
                  </a:lnTo>
                  <a:lnTo>
                    <a:pt x="5875" y="8827"/>
                  </a:lnTo>
                  <a:lnTo>
                    <a:pt x="5745" y="8624"/>
                  </a:lnTo>
                  <a:lnTo>
                    <a:pt x="5624" y="8413"/>
                  </a:lnTo>
                  <a:lnTo>
                    <a:pt x="5513" y="8198"/>
                  </a:lnTo>
                  <a:lnTo>
                    <a:pt x="5413" y="7975"/>
                  </a:lnTo>
                  <a:lnTo>
                    <a:pt x="5322" y="7747"/>
                  </a:lnTo>
                  <a:lnTo>
                    <a:pt x="5244" y="7514"/>
                  </a:lnTo>
                  <a:lnTo>
                    <a:pt x="5176" y="7275"/>
                  </a:lnTo>
                  <a:lnTo>
                    <a:pt x="5120" y="7033"/>
                  </a:lnTo>
                  <a:lnTo>
                    <a:pt x="5076" y="6786"/>
                  </a:lnTo>
                  <a:lnTo>
                    <a:pt x="5044" y="6535"/>
                  </a:lnTo>
                  <a:lnTo>
                    <a:pt x="5025" y="6280"/>
                  </a:lnTo>
                  <a:lnTo>
                    <a:pt x="5018" y="6022"/>
                  </a:lnTo>
                  <a:lnTo>
                    <a:pt x="5025" y="5764"/>
                  </a:lnTo>
                  <a:lnTo>
                    <a:pt x="5044" y="5509"/>
                  </a:lnTo>
                  <a:lnTo>
                    <a:pt x="5076" y="5258"/>
                  </a:lnTo>
                  <a:lnTo>
                    <a:pt x="5120" y="5011"/>
                  </a:lnTo>
                  <a:lnTo>
                    <a:pt x="5176" y="4768"/>
                  </a:lnTo>
                  <a:lnTo>
                    <a:pt x="5244" y="4529"/>
                  </a:lnTo>
                  <a:lnTo>
                    <a:pt x="5322" y="4297"/>
                  </a:lnTo>
                  <a:lnTo>
                    <a:pt x="5413" y="4069"/>
                  </a:lnTo>
                  <a:lnTo>
                    <a:pt x="5513" y="3846"/>
                  </a:lnTo>
                  <a:lnTo>
                    <a:pt x="5624" y="3630"/>
                  </a:lnTo>
                  <a:lnTo>
                    <a:pt x="5745" y="3420"/>
                  </a:lnTo>
                  <a:lnTo>
                    <a:pt x="5875" y="3217"/>
                  </a:lnTo>
                  <a:lnTo>
                    <a:pt x="6015" y="3020"/>
                  </a:lnTo>
                  <a:lnTo>
                    <a:pt x="6164" y="2830"/>
                  </a:lnTo>
                  <a:lnTo>
                    <a:pt x="6322" y="2648"/>
                  </a:lnTo>
                  <a:lnTo>
                    <a:pt x="6488" y="2474"/>
                  </a:lnTo>
                  <a:lnTo>
                    <a:pt x="6662" y="2307"/>
                  </a:lnTo>
                  <a:lnTo>
                    <a:pt x="6845" y="2150"/>
                  </a:lnTo>
                  <a:lnTo>
                    <a:pt x="7034" y="2000"/>
                  </a:lnTo>
                  <a:lnTo>
                    <a:pt x="7231" y="1861"/>
                  </a:lnTo>
                  <a:lnTo>
                    <a:pt x="7435" y="1730"/>
                  </a:lnTo>
                  <a:lnTo>
                    <a:pt x="7645" y="1610"/>
                  </a:lnTo>
                  <a:lnTo>
                    <a:pt x="7860" y="1498"/>
                  </a:lnTo>
                  <a:lnTo>
                    <a:pt x="8083" y="1398"/>
                  </a:lnTo>
                  <a:lnTo>
                    <a:pt x="8311" y="1308"/>
                  </a:lnTo>
                  <a:lnTo>
                    <a:pt x="8544" y="1229"/>
                  </a:lnTo>
                  <a:lnTo>
                    <a:pt x="8783" y="1161"/>
                  </a:lnTo>
                  <a:lnTo>
                    <a:pt x="9025" y="1106"/>
                  </a:lnTo>
                  <a:lnTo>
                    <a:pt x="9272" y="1062"/>
                  </a:lnTo>
                  <a:lnTo>
                    <a:pt x="9523" y="1030"/>
                  </a:lnTo>
                  <a:lnTo>
                    <a:pt x="9778" y="1010"/>
                  </a:lnTo>
                  <a:lnTo>
                    <a:pt x="10036" y="1004"/>
                  </a:lnTo>
                  <a:lnTo>
                    <a:pt x="10294" y="1010"/>
                  </a:lnTo>
                  <a:lnTo>
                    <a:pt x="10549" y="1030"/>
                  </a:lnTo>
                  <a:lnTo>
                    <a:pt x="10800" y="1062"/>
                  </a:lnTo>
                  <a:lnTo>
                    <a:pt x="11048" y="1106"/>
                  </a:lnTo>
                  <a:lnTo>
                    <a:pt x="11291" y="1161"/>
                  </a:lnTo>
                  <a:lnTo>
                    <a:pt x="11529" y="1229"/>
                  </a:lnTo>
                  <a:lnTo>
                    <a:pt x="11761" y="1308"/>
                  </a:lnTo>
                  <a:lnTo>
                    <a:pt x="11989" y="1398"/>
                  </a:lnTo>
                  <a:lnTo>
                    <a:pt x="12212" y="1498"/>
                  </a:lnTo>
                  <a:lnTo>
                    <a:pt x="12428" y="1610"/>
                  </a:lnTo>
                  <a:lnTo>
                    <a:pt x="12639" y="1730"/>
                  </a:lnTo>
                  <a:lnTo>
                    <a:pt x="12841" y="1861"/>
                  </a:lnTo>
                  <a:lnTo>
                    <a:pt x="13038" y="2000"/>
                  </a:lnTo>
                  <a:lnTo>
                    <a:pt x="13228" y="2150"/>
                  </a:lnTo>
                  <a:lnTo>
                    <a:pt x="13410" y="2307"/>
                  </a:lnTo>
                  <a:lnTo>
                    <a:pt x="13584" y="2474"/>
                  </a:lnTo>
                  <a:lnTo>
                    <a:pt x="13751" y="2648"/>
                  </a:lnTo>
                  <a:lnTo>
                    <a:pt x="13908" y="2830"/>
                  </a:lnTo>
                  <a:lnTo>
                    <a:pt x="14058" y="3020"/>
                  </a:lnTo>
                  <a:lnTo>
                    <a:pt x="14197" y="3217"/>
                  </a:lnTo>
                  <a:lnTo>
                    <a:pt x="14328" y="3420"/>
                  </a:lnTo>
                  <a:lnTo>
                    <a:pt x="14448" y="3630"/>
                  </a:lnTo>
                  <a:lnTo>
                    <a:pt x="14560" y="3846"/>
                  </a:lnTo>
                  <a:lnTo>
                    <a:pt x="14660" y="4069"/>
                  </a:lnTo>
                  <a:lnTo>
                    <a:pt x="14750" y="4297"/>
                  </a:lnTo>
                  <a:lnTo>
                    <a:pt x="14829" y="4529"/>
                  </a:lnTo>
                  <a:lnTo>
                    <a:pt x="14897" y="4768"/>
                  </a:lnTo>
                  <a:lnTo>
                    <a:pt x="14952" y="5011"/>
                  </a:lnTo>
                  <a:lnTo>
                    <a:pt x="14996" y="5258"/>
                  </a:lnTo>
                  <a:lnTo>
                    <a:pt x="15028" y="5509"/>
                  </a:lnTo>
                  <a:lnTo>
                    <a:pt x="15048" y="5764"/>
                  </a:lnTo>
                  <a:lnTo>
                    <a:pt x="15054" y="6022"/>
                  </a:lnTo>
                  <a:lnTo>
                    <a:pt x="15048" y="6280"/>
                  </a:lnTo>
                  <a:lnTo>
                    <a:pt x="15028" y="6535"/>
                  </a:lnTo>
                  <a:lnTo>
                    <a:pt x="14996" y="6786"/>
                  </a:lnTo>
                  <a:lnTo>
                    <a:pt x="14952" y="7033"/>
                  </a:lnTo>
                  <a:lnTo>
                    <a:pt x="14897" y="7275"/>
                  </a:lnTo>
                  <a:lnTo>
                    <a:pt x="14829" y="7514"/>
                  </a:lnTo>
                  <a:lnTo>
                    <a:pt x="14750" y="7747"/>
                  </a:lnTo>
                  <a:lnTo>
                    <a:pt x="14660" y="7975"/>
                  </a:lnTo>
                  <a:lnTo>
                    <a:pt x="14560" y="8198"/>
                  </a:lnTo>
                  <a:lnTo>
                    <a:pt x="14448" y="8413"/>
                  </a:lnTo>
                  <a:lnTo>
                    <a:pt x="14328" y="8624"/>
                  </a:lnTo>
                  <a:lnTo>
                    <a:pt x="14197" y="8827"/>
                  </a:lnTo>
                  <a:lnTo>
                    <a:pt x="14058" y="9024"/>
                  </a:lnTo>
                  <a:lnTo>
                    <a:pt x="13908" y="9213"/>
                  </a:lnTo>
                  <a:lnTo>
                    <a:pt x="13751" y="9396"/>
                  </a:lnTo>
                  <a:lnTo>
                    <a:pt x="13584" y="9570"/>
                  </a:lnTo>
                  <a:lnTo>
                    <a:pt x="13410" y="9736"/>
                  </a:lnTo>
                  <a:lnTo>
                    <a:pt x="13228" y="9894"/>
                  </a:lnTo>
                  <a:lnTo>
                    <a:pt x="13038" y="10043"/>
                  </a:lnTo>
                  <a:lnTo>
                    <a:pt x="12841" y="10183"/>
                  </a:lnTo>
                  <a:lnTo>
                    <a:pt x="12639" y="10313"/>
                  </a:lnTo>
                  <a:lnTo>
                    <a:pt x="12428" y="10434"/>
                  </a:lnTo>
                  <a:lnTo>
                    <a:pt x="12212" y="10545"/>
                  </a:lnTo>
                  <a:lnTo>
                    <a:pt x="11989" y="10645"/>
                  </a:lnTo>
                  <a:lnTo>
                    <a:pt x="11761" y="10736"/>
                  </a:lnTo>
                  <a:lnTo>
                    <a:pt x="11529" y="10814"/>
                  </a:lnTo>
                  <a:lnTo>
                    <a:pt x="11291" y="10882"/>
                  </a:lnTo>
                  <a:lnTo>
                    <a:pt x="11048" y="10938"/>
                  </a:lnTo>
                  <a:lnTo>
                    <a:pt x="10800" y="10982"/>
                  </a:lnTo>
                  <a:lnTo>
                    <a:pt x="10549" y="11014"/>
                  </a:lnTo>
                  <a:lnTo>
                    <a:pt x="10294" y="11034"/>
                  </a:lnTo>
                  <a:lnTo>
                    <a:pt x="10036" y="11040"/>
                  </a:lnTo>
                  <a:close/>
                  <a:moveTo>
                    <a:pt x="2407" y="14900"/>
                  </a:moveTo>
                  <a:lnTo>
                    <a:pt x="2391" y="14915"/>
                  </a:lnTo>
                  <a:lnTo>
                    <a:pt x="2376" y="14930"/>
                  </a:lnTo>
                  <a:lnTo>
                    <a:pt x="2360" y="14945"/>
                  </a:lnTo>
                  <a:lnTo>
                    <a:pt x="2342" y="14959"/>
                  </a:lnTo>
                  <a:lnTo>
                    <a:pt x="2326" y="14973"/>
                  </a:lnTo>
                  <a:lnTo>
                    <a:pt x="2309" y="14987"/>
                  </a:lnTo>
                  <a:lnTo>
                    <a:pt x="2291" y="15000"/>
                  </a:lnTo>
                  <a:lnTo>
                    <a:pt x="2274" y="15013"/>
                  </a:lnTo>
                  <a:lnTo>
                    <a:pt x="2256" y="15025"/>
                  </a:lnTo>
                  <a:lnTo>
                    <a:pt x="2238" y="15037"/>
                  </a:lnTo>
                  <a:lnTo>
                    <a:pt x="2219" y="15048"/>
                  </a:lnTo>
                  <a:lnTo>
                    <a:pt x="2200" y="15059"/>
                  </a:lnTo>
                  <a:lnTo>
                    <a:pt x="2181" y="15069"/>
                  </a:lnTo>
                  <a:lnTo>
                    <a:pt x="2162" y="15080"/>
                  </a:lnTo>
                  <a:lnTo>
                    <a:pt x="2142" y="15090"/>
                  </a:lnTo>
                  <a:lnTo>
                    <a:pt x="2122" y="15099"/>
                  </a:lnTo>
                  <a:lnTo>
                    <a:pt x="2102" y="15108"/>
                  </a:lnTo>
                  <a:lnTo>
                    <a:pt x="2081" y="15116"/>
                  </a:lnTo>
                  <a:lnTo>
                    <a:pt x="2060" y="15123"/>
                  </a:lnTo>
                  <a:lnTo>
                    <a:pt x="2039" y="15130"/>
                  </a:lnTo>
                  <a:lnTo>
                    <a:pt x="2018" y="15137"/>
                  </a:lnTo>
                  <a:lnTo>
                    <a:pt x="1996" y="15143"/>
                  </a:lnTo>
                  <a:lnTo>
                    <a:pt x="1975" y="15148"/>
                  </a:lnTo>
                  <a:lnTo>
                    <a:pt x="1953" y="15153"/>
                  </a:lnTo>
                  <a:lnTo>
                    <a:pt x="1931" y="15158"/>
                  </a:lnTo>
                  <a:lnTo>
                    <a:pt x="1909" y="15162"/>
                  </a:lnTo>
                  <a:lnTo>
                    <a:pt x="1886" y="15165"/>
                  </a:lnTo>
                  <a:lnTo>
                    <a:pt x="1864" y="15168"/>
                  </a:lnTo>
                  <a:lnTo>
                    <a:pt x="1841" y="15170"/>
                  </a:lnTo>
                  <a:lnTo>
                    <a:pt x="1818" y="15171"/>
                  </a:lnTo>
                  <a:lnTo>
                    <a:pt x="1794" y="15172"/>
                  </a:lnTo>
                  <a:lnTo>
                    <a:pt x="1771" y="15172"/>
                  </a:lnTo>
                  <a:lnTo>
                    <a:pt x="1725" y="15171"/>
                  </a:lnTo>
                  <a:lnTo>
                    <a:pt x="1680" y="15168"/>
                  </a:lnTo>
                  <a:lnTo>
                    <a:pt x="1636" y="15162"/>
                  </a:lnTo>
                  <a:lnTo>
                    <a:pt x="1593" y="15154"/>
                  </a:lnTo>
                  <a:lnTo>
                    <a:pt x="1550" y="15145"/>
                  </a:lnTo>
                  <a:lnTo>
                    <a:pt x="1507" y="15133"/>
                  </a:lnTo>
                  <a:lnTo>
                    <a:pt x="1466" y="15119"/>
                  </a:lnTo>
                  <a:lnTo>
                    <a:pt x="1426" y="15103"/>
                  </a:lnTo>
                  <a:lnTo>
                    <a:pt x="1387" y="15084"/>
                  </a:lnTo>
                  <a:lnTo>
                    <a:pt x="1349" y="15065"/>
                  </a:lnTo>
                  <a:lnTo>
                    <a:pt x="1312" y="15044"/>
                  </a:lnTo>
                  <a:lnTo>
                    <a:pt x="1276" y="15021"/>
                  </a:lnTo>
                  <a:lnTo>
                    <a:pt x="1241" y="14996"/>
                  </a:lnTo>
                  <a:lnTo>
                    <a:pt x="1208" y="14970"/>
                  </a:lnTo>
                  <a:lnTo>
                    <a:pt x="1176" y="14942"/>
                  </a:lnTo>
                  <a:lnTo>
                    <a:pt x="1145" y="14913"/>
                  </a:lnTo>
                  <a:lnTo>
                    <a:pt x="1116" y="14882"/>
                  </a:lnTo>
                  <a:lnTo>
                    <a:pt x="1088" y="14850"/>
                  </a:lnTo>
                  <a:lnTo>
                    <a:pt x="1062" y="14817"/>
                  </a:lnTo>
                  <a:lnTo>
                    <a:pt x="1037" y="14782"/>
                  </a:lnTo>
                  <a:lnTo>
                    <a:pt x="1014" y="14746"/>
                  </a:lnTo>
                  <a:lnTo>
                    <a:pt x="993" y="14709"/>
                  </a:lnTo>
                  <a:lnTo>
                    <a:pt x="974" y="14671"/>
                  </a:lnTo>
                  <a:lnTo>
                    <a:pt x="955" y="14632"/>
                  </a:lnTo>
                  <a:lnTo>
                    <a:pt x="939" y="14592"/>
                  </a:lnTo>
                  <a:lnTo>
                    <a:pt x="925" y="14551"/>
                  </a:lnTo>
                  <a:lnTo>
                    <a:pt x="913" y="14508"/>
                  </a:lnTo>
                  <a:lnTo>
                    <a:pt x="903" y="14465"/>
                  </a:lnTo>
                  <a:lnTo>
                    <a:pt x="896" y="14422"/>
                  </a:lnTo>
                  <a:lnTo>
                    <a:pt x="890" y="14378"/>
                  </a:lnTo>
                  <a:lnTo>
                    <a:pt x="887" y="14333"/>
                  </a:lnTo>
                  <a:lnTo>
                    <a:pt x="886" y="14287"/>
                  </a:lnTo>
                  <a:lnTo>
                    <a:pt x="886" y="14264"/>
                  </a:lnTo>
                  <a:lnTo>
                    <a:pt x="887" y="14240"/>
                  </a:lnTo>
                  <a:lnTo>
                    <a:pt x="888" y="14217"/>
                  </a:lnTo>
                  <a:lnTo>
                    <a:pt x="890" y="14194"/>
                  </a:lnTo>
                  <a:lnTo>
                    <a:pt x="893" y="14172"/>
                  </a:lnTo>
                  <a:lnTo>
                    <a:pt x="896" y="14149"/>
                  </a:lnTo>
                  <a:lnTo>
                    <a:pt x="900" y="14127"/>
                  </a:lnTo>
                  <a:lnTo>
                    <a:pt x="905" y="14105"/>
                  </a:lnTo>
                  <a:lnTo>
                    <a:pt x="910" y="14083"/>
                  </a:lnTo>
                  <a:lnTo>
                    <a:pt x="915" y="14062"/>
                  </a:lnTo>
                  <a:lnTo>
                    <a:pt x="921" y="14040"/>
                  </a:lnTo>
                  <a:lnTo>
                    <a:pt x="928" y="14019"/>
                  </a:lnTo>
                  <a:lnTo>
                    <a:pt x="935" y="13998"/>
                  </a:lnTo>
                  <a:lnTo>
                    <a:pt x="942" y="13977"/>
                  </a:lnTo>
                  <a:lnTo>
                    <a:pt x="950" y="13956"/>
                  </a:lnTo>
                  <a:lnTo>
                    <a:pt x="959" y="13936"/>
                  </a:lnTo>
                  <a:lnTo>
                    <a:pt x="968" y="13916"/>
                  </a:lnTo>
                  <a:lnTo>
                    <a:pt x="978" y="13896"/>
                  </a:lnTo>
                  <a:lnTo>
                    <a:pt x="988" y="13877"/>
                  </a:lnTo>
                  <a:lnTo>
                    <a:pt x="999" y="13858"/>
                  </a:lnTo>
                  <a:lnTo>
                    <a:pt x="1010" y="13839"/>
                  </a:lnTo>
                  <a:lnTo>
                    <a:pt x="1021" y="13820"/>
                  </a:lnTo>
                  <a:lnTo>
                    <a:pt x="1033" y="13802"/>
                  </a:lnTo>
                  <a:lnTo>
                    <a:pt x="1045" y="13784"/>
                  </a:lnTo>
                  <a:lnTo>
                    <a:pt x="1058" y="13767"/>
                  </a:lnTo>
                  <a:lnTo>
                    <a:pt x="1071" y="13749"/>
                  </a:lnTo>
                  <a:lnTo>
                    <a:pt x="1085" y="13732"/>
                  </a:lnTo>
                  <a:lnTo>
                    <a:pt x="1099" y="13716"/>
                  </a:lnTo>
                  <a:lnTo>
                    <a:pt x="1113" y="13698"/>
                  </a:lnTo>
                  <a:lnTo>
                    <a:pt x="1127" y="13682"/>
                  </a:lnTo>
                  <a:lnTo>
                    <a:pt x="1142" y="13667"/>
                  </a:lnTo>
                  <a:lnTo>
                    <a:pt x="1158" y="13651"/>
                  </a:lnTo>
                  <a:lnTo>
                    <a:pt x="1154" y="13647"/>
                  </a:lnTo>
                  <a:lnTo>
                    <a:pt x="5202" y="9601"/>
                  </a:lnTo>
                  <a:lnTo>
                    <a:pt x="5235" y="9645"/>
                  </a:lnTo>
                  <a:lnTo>
                    <a:pt x="5268" y="9689"/>
                  </a:lnTo>
                  <a:lnTo>
                    <a:pt x="5302" y="9733"/>
                  </a:lnTo>
                  <a:lnTo>
                    <a:pt x="5337" y="9776"/>
                  </a:lnTo>
                  <a:lnTo>
                    <a:pt x="5372" y="9819"/>
                  </a:lnTo>
                  <a:lnTo>
                    <a:pt x="5408" y="9863"/>
                  </a:lnTo>
                  <a:lnTo>
                    <a:pt x="5443" y="9906"/>
                  </a:lnTo>
                  <a:lnTo>
                    <a:pt x="5479" y="9948"/>
                  </a:lnTo>
                  <a:lnTo>
                    <a:pt x="5516" y="9989"/>
                  </a:lnTo>
                  <a:lnTo>
                    <a:pt x="5552" y="10031"/>
                  </a:lnTo>
                  <a:lnTo>
                    <a:pt x="5589" y="10072"/>
                  </a:lnTo>
                  <a:lnTo>
                    <a:pt x="5627" y="10114"/>
                  </a:lnTo>
                  <a:lnTo>
                    <a:pt x="5665" y="10154"/>
                  </a:lnTo>
                  <a:lnTo>
                    <a:pt x="5704" y="10194"/>
                  </a:lnTo>
                  <a:lnTo>
                    <a:pt x="5742" y="10234"/>
                  </a:lnTo>
                  <a:lnTo>
                    <a:pt x="5781" y="10273"/>
                  </a:lnTo>
                  <a:lnTo>
                    <a:pt x="5820" y="10312"/>
                  </a:lnTo>
                  <a:lnTo>
                    <a:pt x="5860" y="10350"/>
                  </a:lnTo>
                  <a:lnTo>
                    <a:pt x="5900" y="10390"/>
                  </a:lnTo>
                  <a:lnTo>
                    <a:pt x="5940" y="10427"/>
                  </a:lnTo>
                  <a:lnTo>
                    <a:pt x="5982" y="10465"/>
                  </a:lnTo>
                  <a:lnTo>
                    <a:pt x="6023" y="10502"/>
                  </a:lnTo>
                  <a:lnTo>
                    <a:pt x="6064" y="10539"/>
                  </a:lnTo>
                  <a:lnTo>
                    <a:pt x="6106" y="10575"/>
                  </a:lnTo>
                  <a:lnTo>
                    <a:pt x="6148" y="10611"/>
                  </a:lnTo>
                  <a:lnTo>
                    <a:pt x="6190" y="10647"/>
                  </a:lnTo>
                  <a:lnTo>
                    <a:pt x="6234" y="10683"/>
                  </a:lnTo>
                  <a:lnTo>
                    <a:pt x="6277" y="10718"/>
                  </a:lnTo>
                  <a:lnTo>
                    <a:pt x="6320" y="10752"/>
                  </a:lnTo>
                  <a:lnTo>
                    <a:pt x="6364" y="10786"/>
                  </a:lnTo>
                  <a:lnTo>
                    <a:pt x="6408" y="10820"/>
                  </a:lnTo>
                  <a:lnTo>
                    <a:pt x="6453" y="10854"/>
                  </a:lnTo>
                  <a:lnTo>
                    <a:pt x="2407" y="14900"/>
                  </a:lnTo>
                  <a:close/>
                  <a:moveTo>
                    <a:pt x="10036" y="0"/>
                  </a:moveTo>
                  <a:lnTo>
                    <a:pt x="9726" y="8"/>
                  </a:lnTo>
                  <a:lnTo>
                    <a:pt x="9421" y="31"/>
                  </a:lnTo>
                  <a:lnTo>
                    <a:pt x="9119" y="69"/>
                  </a:lnTo>
                  <a:lnTo>
                    <a:pt x="8823" y="122"/>
                  </a:lnTo>
                  <a:lnTo>
                    <a:pt x="8532" y="190"/>
                  </a:lnTo>
                  <a:lnTo>
                    <a:pt x="8246" y="271"/>
                  </a:lnTo>
                  <a:lnTo>
                    <a:pt x="7966" y="365"/>
                  </a:lnTo>
                  <a:lnTo>
                    <a:pt x="7693" y="474"/>
                  </a:lnTo>
                  <a:lnTo>
                    <a:pt x="7426" y="594"/>
                  </a:lnTo>
                  <a:lnTo>
                    <a:pt x="7166" y="727"/>
                  </a:lnTo>
                  <a:lnTo>
                    <a:pt x="6914" y="872"/>
                  </a:lnTo>
                  <a:lnTo>
                    <a:pt x="6669" y="1029"/>
                  </a:lnTo>
                  <a:lnTo>
                    <a:pt x="6433" y="1196"/>
                  </a:lnTo>
                  <a:lnTo>
                    <a:pt x="6206" y="1375"/>
                  </a:lnTo>
                  <a:lnTo>
                    <a:pt x="5988" y="1565"/>
                  </a:lnTo>
                  <a:lnTo>
                    <a:pt x="5778" y="1763"/>
                  </a:lnTo>
                  <a:lnTo>
                    <a:pt x="5579" y="1973"/>
                  </a:lnTo>
                  <a:lnTo>
                    <a:pt x="5389" y="2191"/>
                  </a:lnTo>
                  <a:lnTo>
                    <a:pt x="5211" y="2419"/>
                  </a:lnTo>
                  <a:lnTo>
                    <a:pt x="5043" y="2655"/>
                  </a:lnTo>
                  <a:lnTo>
                    <a:pt x="4887" y="2899"/>
                  </a:lnTo>
                  <a:lnTo>
                    <a:pt x="4741" y="3151"/>
                  </a:lnTo>
                  <a:lnTo>
                    <a:pt x="4609" y="3411"/>
                  </a:lnTo>
                  <a:lnTo>
                    <a:pt x="4488" y="3678"/>
                  </a:lnTo>
                  <a:lnTo>
                    <a:pt x="4380" y="3951"/>
                  </a:lnTo>
                  <a:lnTo>
                    <a:pt x="4285" y="4231"/>
                  </a:lnTo>
                  <a:lnTo>
                    <a:pt x="4204" y="4517"/>
                  </a:lnTo>
                  <a:lnTo>
                    <a:pt x="4137" y="4808"/>
                  </a:lnTo>
                  <a:lnTo>
                    <a:pt x="4084" y="5104"/>
                  </a:lnTo>
                  <a:lnTo>
                    <a:pt x="4046" y="5407"/>
                  </a:lnTo>
                  <a:lnTo>
                    <a:pt x="4023" y="5712"/>
                  </a:lnTo>
                  <a:lnTo>
                    <a:pt x="4015" y="6022"/>
                  </a:lnTo>
                  <a:lnTo>
                    <a:pt x="4016" y="6117"/>
                  </a:lnTo>
                  <a:lnTo>
                    <a:pt x="4018" y="6211"/>
                  </a:lnTo>
                  <a:lnTo>
                    <a:pt x="4022" y="6306"/>
                  </a:lnTo>
                  <a:lnTo>
                    <a:pt x="4027" y="6400"/>
                  </a:lnTo>
                  <a:lnTo>
                    <a:pt x="4033" y="6493"/>
                  </a:lnTo>
                  <a:lnTo>
                    <a:pt x="4041" y="6587"/>
                  </a:lnTo>
                  <a:lnTo>
                    <a:pt x="4051" y="6680"/>
                  </a:lnTo>
                  <a:lnTo>
                    <a:pt x="4062" y="6772"/>
                  </a:lnTo>
                  <a:lnTo>
                    <a:pt x="4074" y="6864"/>
                  </a:lnTo>
                  <a:lnTo>
                    <a:pt x="4087" y="6956"/>
                  </a:lnTo>
                  <a:lnTo>
                    <a:pt x="4102" y="7046"/>
                  </a:lnTo>
                  <a:lnTo>
                    <a:pt x="4119" y="7138"/>
                  </a:lnTo>
                  <a:lnTo>
                    <a:pt x="4136" y="7227"/>
                  </a:lnTo>
                  <a:lnTo>
                    <a:pt x="4155" y="7317"/>
                  </a:lnTo>
                  <a:lnTo>
                    <a:pt x="4176" y="7406"/>
                  </a:lnTo>
                  <a:lnTo>
                    <a:pt x="4197" y="7495"/>
                  </a:lnTo>
                  <a:lnTo>
                    <a:pt x="4220" y="7583"/>
                  </a:lnTo>
                  <a:lnTo>
                    <a:pt x="4244" y="7671"/>
                  </a:lnTo>
                  <a:lnTo>
                    <a:pt x="4270" y="7758"/>
                  </a:lnTo>
                  <a:lnTo>
                    <a:pt x="4298" y="7844"/>
                  </a:lnTo>
                  <a:lnTo>
                    <a:pt x="4326" y="7930"/>
                  </a:lnTo>
                  <a:lnTo>
                    <a:pt x="4355" y="8015"/>
                  </a:lnTo>
                  <a:lnTo>
                    <a:pt x="4386" y="8100"/>
                  </a:lnTo>
                  <a:lnTo>
                    <a:pt x="4417" y="8185"/>
                  </a:lnTo>
                  <a:lnTo>
                    <a:pt x="4450" y="8268"/>
                  </a:lnTo>
                  <a:lnTo>
                    <a:pt x="4484" y="8351"/>
                  </a:lnTo>
                  <a:lnTo>
                    <a:pt x="4520" y="8433"/>
                  </a:lnTo>
                  <a:lnTo>
                    <a:pt x="4556" y="8515"/>
                  </a:lnTo>
                  <a:lnTo>
                    <a:pt x="4595" y="8596"/>
                  </a:lnTo>
                  <a:lnTo>
                    <a:pt x="4634" y="8676"/>
                  </a:lnTo>
                  <a:lnTo>
                    <a:pt x="4673" y="8757"/>
                  </a:lnTo>
                  <a:lnTo>
                    <a:pt x="4715" y="8835"/>
                  </a:lnTo>
                  <a:lnTo>
                    <a:pt x="528" y="13021"/>
                  </a:lnTo>
                  <a:lnTo>
                    <a:pt x="531" y="13025"/>
                  </a:lnTo>
                  <a:lnTo>
                    <a:pt x="501" y="13055"/>
                  </a:lnTo>
                  <a:lnTo>
                    <a:pt x="471" y="13086"/>
                  </a:lnTo>
                  <a:lnTo>
                    <a:pt x="443" y="13118"/>
                  </a:lnTo>
                  <a:lnTo>
                    <a:pt x="414" y="13152"/>
                  </a:lnTo>
                  <a:lnTo>
                    <a:pt x="386" y="13185"/>
                  </a:lnTo>
                  <a:lnTo>
                    <a:pt x="360" y="13219"/>
                  </a:lnTo>
                  <a:lnTo>
                    <a:pt x="335" y="13253"/>
                  </a:lnTo>
                  <a:lnTo>
                    <a:pt x="310" y="13288"/>
                  </a:lnTo>
                  <a:lnTo>
                    <a:pt x="286" y="13324"/>
                  </a:lnTo>
                  <a:lnTo>
                    <a:pt x="263" y="13360"/>
                  </a:lnTo>
                  <a:lnTo>
                    <a:pt x="241" y="13397"/>
                  </a:lnTo>
                  <a:lnTo>
                    <a:pt x="219" y="13436"/>
                  </a:lnTo>
                  <a:lnTo>
                    <a:pt x="199" y="13474"/>
                  </a:lnTo>
                  <a:lnTo>
                    <a:pt x="179" y="13512"/>
                  </a:lnTo>
                  <a:lnTo>
                    <a:pt x="161" y="13551"/>
                  </a:lnTo>
                  <a:lnTo>
                    <a:pt x="143" y="13591"/>
                  </a:lnTo>
                  <a:lnTo>
                    <a:pt x="126" y="13631"/>
                  </a:lnTo>
                  <a:lnTo>
                    <a:pt x="110" y="13672"/>
                  </a:lnTo>
                  <a:lnTo>
                    <a:pt x="95" y="13714"/>
                  </a:lnTo>
                  <a:lnTo>
                    <a:pt x="81" y="13755"/>
                  </a:lnTo>
                  <a:lnTo>
                    <a:pt x="69" y="13797"/>
                  </a:lnTo>
                  <a:lnTo>
                    <a:pt x="57" y="13840"/>
                  </a:lnTo>
                  <a:lnTo>
                    <a:pt x="46" y="13883"/>
                  </a:lnTo>
                  <a:lnTo>
                    <a:pt x="37" y="13926"/>
                  </a:lnTo>
                  <a:lnTo>
                    <a:pt x="28" y="13970"/>
                  </a:lnTo>
                  <a:lnTo>
                    <a:pt x="21" y="14015"/>
                  </a:lnTo>
                  <a:lnTo>
                    <a:pt x="15" y="14059"/>
                  </a:lnTo>
                  <a:lnTo>
                    <a:pt x="9" y="14104"/>
                  </a:lnTo>
                  <a:lnTo>
                    <a:pt x="5" y="14149"/>
                  </a:lnTo>
                  <a:lnTo>
                    <a:pt x="2" y="14195"/>
                  </a:lnTo>
                  <a:lnTo>
                    <a:pt x="1" y="14240"/>
                  </a:lnTo>
                  <a:lnTo>
                    <a:pt x="0" y="14287"/>
                  </a:lnTo>
                  <a:lnTo>
                    <a:pt x="2" y="14378"/>
                  </a:lnTo>
                  <a:lnTo>
                    <a:pt x="9" y="14468"/>
                  </a:lnTo>
                  <a:lnTo>
                    <a:pt x="20" y="14557"/>
                  </a:lnTo>
                  <a:lnTo>
                    <a:pt x="36" y="14644"/>
                  </a:lnTo>
                  <a:lnTo>
                    <a:pt x="56" y="14729"/>
                  </a:lnTo>
                  <a:lnTo>
                    <a:pt x="79" y="14814"/>
                  </a:lnTo>
                  <a:lnTo>
                    <a:pt x="107" y="14896"/>
                  </a:lnTo>
                  <a:lnTo>
                    <a:pt x="140" y="14976"/>
                  </a:lnTo>
                  <a:lnTo>
                    <a:pt x="175" y="15054"/>
                  </a:lnTo>
                  <a:lnTo>
                    <a:pt x="214" y="15132"/>
                  </a:lnTo>
                  <a:lnTo>
                    <a:pt x="256" y="15205"/>
                  </a:lnTo>
                  <a:lnTo>
                    <a:pt x="302" y="15277"/>
                  </a:lnTo>
                  <a:lnTo>
                    <a:pt x="352" y="15346"/>
                  </a:lnTo>
                  <a:lnTo>
                    <a:pt x="404" y="15414"/>
                  </a:lnTo>
                  <a:lnTo>
                    <a:pt x="460" y="15478"/>
                  </a:lnTo>
                  <a:lnTo>
                    <a:pt x="519" y="15539"/>
                  </a:lnTo>
                  <a:lnTo>
                    <a:pt x="580" y="15598"/>
                  </a:lnTo>
                  <a:lnTo>
                    <a:pt x="644" y="15654"/>
                  </a:lnTo>
                  <a:lnTo>
                    <a:pt x="712" y="15706"/>
                  </a:lnTo>
                  <a:lnTo>
                    <a:pt x="781" y="15756"/>
                  </a:lnTo>
                  <a:lnTo>
                    <a:pt x="853" y="15801"/>
                  </a:lnTo>
                  <a:lnTo>
                    <a:pt x="926" y="15844"/>
                  </a:lnTo>
                  <a:lnTo>
                    <a:pt x="1004" y="15883"/>
                  </a:lnTo>
                  <a:lnTo>
                    <a:pt x="1082" y="15918"/>
                  </a:lnTo>
                  <a:lnTo>
                    <a:pt x="1162" y="15951"/>
                  </a:lnTo>
                  <a:lnTo>
                    <a:pt x="1244" y="15979"/>
                  </a:lnTo>
                  <a:lnTo>
                    <a:pt x="1329" y="16002"/>
                  </a:lnTo>
                  <a:lnTo>
                    <a:pt x="1414" y="16022"/>
                  </a:lnTo>
                  <a:lnTo>
                    <a:pt x="1501" y="16038"/>
                  </a:lnTo>
                  <a:lnTo>
                    <a:pt x="1590" y="16049"/>
                  </a:lnTo>
                  <a:lnTo>
                    <a:pt x="1680" y="16056"/>
                  </a:lnTo>
                  <a:lnTo>
                    <a:pt x="1771" y="16058"/>
                  </a:lnTo>
                  <a:lnTo>
                    <a:pt x="1818" y="16057"/>
                  </a:lnTo>
                  <a:lnTo>
                    <a:pt x="1863" y="16056"/>
                  </a:lnTo>
                  <a:lnTo>
                    <a:pt x="1909" y="16053"/>
                  </a:lnTo>
                  <a:lnTo>
                    <a:pt x="1954" y="16049"/>
                  </a:lnTo>
                  <a:lnTo>
                    <a:pt x="1999" y="16043"/>
                  </a:lnTo>
                  <a:lnTo>
                    <a:pt x="2043" y="16037"/>
                  </a:lnTo>
                  <a:lnTo>
                    <a:pt x="2088" y="16030"/>
                  </a:lnTo>
                  <a:lnTo>
                    <a:pt x="2132" y="16021"/>
                  </a:lnTo>
                  <a:lnTo>
                    <a:pt x="2175" y="16012"/>
                  </a:lnTo>
                  <a:lnTo>
                    <a:pt x="2218" y="16001"/>
                  </a:lnTo>
                  <a:lnTo>
                    <a:pt x="2261" y="15989"/>
                  </a:lnTo>
                  <a:lnTo>
                    <a:pt x="2302" y="15977"/>
                  </a:lnTo>
                  <a:lnTo>
                    <a:pt x="2344" y="15963"/>
                  </a:lnTo>
                  <a:lnTo>
                    <a:pt x="2386" y="15948"/>
                  </a:lnTo>
                  <a:lnTo>
                    <a:pt x="2427" y="15932"/>
                  </a:lnTo>
                  <a:lnTo>
                    <a:pt x="2467" y="15915"/>
                  </a:lnTo>
                  <a:lnTo>
                    <a:pt x="2507" y="15897"/>
                  </a:lnTo>
                  <a:lnTo>
                    <a:pt x="2546" y="15878"/>
                  </a:lnTo>
                  <a:lnTo>
                    <a:pt x="2584" y="15859"/>
                  </a:lnTo>
                  <a:lnTo>
                    <a:pt x="2622" y="15839"/>
                  </a:lnTo>
                  <a:lnTo>
                    <a:pt x="2661" y="15817"/>
                  </a:lnTo>
                  <a:lnTo>
                    <a:pt x="2698" y="15795"/>
                  </a:lnTo>
                  <a:lnTo>
                    <a:pt x="2734" y="15772"/>
                  </a:lnTo>
                  <a:lnTo>
                    <a:pt x="2770" y="15748"/>
                  </a:lnTo>
                  <a:lnTo>
                    <a:pt x="2805" y="15723"/>
                  </a:lnTo>
                  <a:lnTo>
                    <a:pt x="2839" y="15698"/>
                  </a:lnTo>
                  <a:lnTo>
                    <a:pt x="2873" y="15671"/>
                  </a:lnTo>
                  <a:lnTo>
                    <a:pt x="2906" y="15644"/>
                  </a:lnTo>
                  <a:lnTo>
                    <a:pt x="2940" y="15615"/>
                  </a:lnTo>
                  <a:lnTo>
                    <a:pt x="2971" y="15587"/>
                  </a:lnTo>
                  <a:lnTo>
                    <a:pt x="3003" y="15557"/>
                  </a:lnTo>
                  <a:lnTo>
                    <a:pt x="3033" y="15527"/>
                  </a:lnTo>
                  <a:lnTo>
                    <a:pt x="3032" y="15526"/>
                  </a:lnTo>
                  <a:lnTo>
                    <a:pt x="7217" y="11342"/>
                  </a:lnTo>
                  <a:lnTo>
                    <a:pt x="7296" y="11383"/>
                  </a:lnTo>
                  <a:lnTo>
                    <a:pt x="7377" y="11423"/>
                  </a:lnTo>
                  <a:lnTo>
                    <a:pt x="7457" y="11462"/>
                  </a:lnTo>
                  <a:lnTo>
                    <a:pt x="7538" y="11500"/>
                  </a:lnTo>
                  <a:lnTo>
                    <a:pt x="7621" y="11537"/>
                  </a:lnTo>
                  <a:lnTo>
                    <a:pt x="7703" y="11572"/>
                  </a:lnTo>
                  <a:lnTo>
                    <a:pt x="7786" y="11606"/>
                  </a:lnTo>
                  <a:lnTo>
                    <a:pt x="7869" y="11640"/>
                  </a:lnTo>
                  <a:lnTo>
                    <a:pt x="7954" y="11671"/>
                  </a:lnTo>
                  <a:lnTo>
                    <a:pt x="8039" y="11702"/>
                  </a:lnTo>
                  <a:lnTo>
                    <a:pt x="8124" y="11731"/>
                  </a:lnTo>
                  <a:lnTo>
                    <a:pt x="8211" y="11759"/>
                  </a:lnTo>
                  <a:lnTo>
                    <a:pt x="8297" y="11787"/>
                  </a:lnTo>
                  <a:lnTo>
                    <a:pt x="8384" y="11813"/>
                  </a:lnTo>
                  <a:lnTo>
                    <a:pt x="8472" y="11837"/>
                  </a:lnTo>
                  <a:lnTo>
                    <a:pt x="8560" y="11860"/>
                  </a:lnTo>
                  <a:lnTo>
                    <a:pt x="8649" y="11882"/>
                  </a:lnTo>
                  <a:lnTo>
                    <a:pt x="8739" y="11902"/>
                  </a:lnTo>
                  <a:lnTo>
                    <a:pt x="8828" y="11921"/>
                  </a:lnTo>
                  <a:lnTo>
                    <a:pt x="8918" y="11939"/>
                  </a:lnTo>
                  <a:lnTo>
                    <a:pt x="9010" y="11955"/>
                  </a:lnTo>
                  <a:lnTo>
                    <a:pt x="9100" y="11970"/>
                  </a:lnTo>
                  <a:lnTo>
                    <a:pt x="9192" y="11984"/>
                  </a:lnTo>
                  <a:lnTo>
                    <a:pt x="9285" y="11996"/>
                  </a:lnTo>
                  <a:lnTo>
                    <a:pt x="9377" y="12007"/>
                  </a:lnTo>
                  <a:lnTo>
                    <a:pt x="9470" y="12016"/>
                  </a:lnTo>
                  <a:lnTo>
                    <a:pt x="9564" y="12024"/>
                  </a:lnTo>
                  <a:lnTo>
                    <a:pt x="9657" y="12031"/>
                  </a:lnTo>
                  <a:lnTo>
                    <a:pt x="9751" y="12036"/>
                  </a:lnTo>
                  <a:lnTo>
                    <a:pt x="9846" y="12040"/>
                  </a:lnTo>
                  <a:lnTo>
                    <a:pt x="9941" y="12042"/>
                  </a:lnTo>
                  <a:lnTo>
                    <a:pt x="10036" y="12044"/>
                  </a:lnTo>
                  <a:lnTo>
                    <a:pt x="10346" y="12035"/>
                  </a:lnTo>
                  <a:lnTo>
                    <a:pt x="10651" y="12012"/>
                  </a:lnTo>
                  <a:lnTo>
                    <a:pt x="10954" y="11974"/>
                  </a:lnTo>
                  <a:lnTo>
                    <a:pt x="11250" y="11921"/>
                  </a:lnTo>
                  <a:lnTo>
                    <a:pt x="11541" y="11854"/>
                  </a:lnTo>
                  <a:lnTo>
                    <a:pt x="11827" y="11773"/>
                  </a:lnTo>
                  <a:lnTo>
                    <a:pt x="12107" y="11678"/>
                  </a:lnTo>
                  <a:lnTo>
                    <a:pt x="12380" y="11570"/>
                  </a:lnTo>
                  <a:lnTo>
                    <a:pt x="12647" y="11449"/>
                  </a:lnTo>
                  <a:lnTo>
                    <a:pt x="12907" y="11317"/>
                  </a:lnTo>
                  <a:lnTo>
                    <a:pt x="13159" y="11171"/>
                  </a:lnTo>
                  <a:lnTo>
                    <a:pt x="13403" y="11015"/>
                  </a:lnTo>
                  <a:lnTo>
                    <a:pt x="13639" y="10847"/>
                  </a:lnTo>
                  <a:lnTo>
                    <a:pt x="13866" y="10669"/>
                  </a:lnTo>
                  <a:lnTo>
                    <a:pt x="14085" y="10479"/>
                  </a:lnTo>
                  <a:lnTo>
                    <a:pt x="14295" y="10280"/>
                  </a:lnTo>
                  <a:lnTo>
                    <a:pt x="14493" y="10070"/>
                  </a:lnTo>
                  <a:lnTo>
                    <a:pt x="14683" y="9852"/>
                  </a:lnTo>
                  <a:lnTo>
                    <a:pt x="14862" y="9625"/>
                  </a:lnTo>
                  <a:lnTo>
                    <a:pt x="15029" y="9389"/>
                  </a:lnTo>
                  <a:lnTo>
                    <a:pt x="15186" y="9144"/>
                  </a:lnTo>
                  <a:lnTo>
                    <a:pt x="15331" y="8892"/>
                  </a:lnTo>
                  <a:lnTo>
                    <a:pt x="15464" y="8632"/>
                  </a:lnTo>
                  <a:lnTo>
                    <a:pt x="15584" y="8365"/>
                  </a:lnTo>
                  <a:lnTo>
                    <a:pt x="15693" y="8092"/>
                  </a:lnTo>
                  <a:lnTo>
                    <a:pt x="15787" y="7812"/>
                  </a:lnTo>
                  <a:lnTo>
                    <a:pt x="15868" y="7526"/>
                  </a:lnTo>
                  <a:lnTo>
                    <a:pt x="15936" y="7235"/>
                  </a:lnTo>
                  <a:lnTo>
                    <a:pt x="15989" y="6939"/>
                  </a:lnTo>
                  <a:lnTo>
                    <a:pt x="16027" y="6638"/>
                  </a:lnTo>
                  <a:lnTo>
                    <a:pt x="16050" y="6332"/>
                  </a:lnTo>
                  <a:lnTo>
                    <a:pt x="16058" y="6022"/>
                  </a:lnTo>
                  <a:lnTo>
                    <a:pt x="16050" y="5712"/>
                  </a:lnTo>
                  <a:lnTo>
                    <a:pt x="16027" y="5407"/>
                  </a:lnTo>
                  <a:lnTo>
                    <a:pt x="15989" y="5104"/>
                  </a:lnTo>
                  <a:lnTo>
                    <a:pt x="15936" y="4808"/>
                  </a:lnTo>
                  <a:lnTo>
                    <a:pt x="15868" y="4517"/>
                  </a:lnTo>
                  <a:lnTo>
                    <a:pt x="15787" y="4231"/>
                  </a:lnTo>
                  <a:lnTo>
                    <a:pt x="15693" y="3951"/>
                  </a:lnTo>
                  <a:lnTo>
                    <a:pt x="15584" y="3678"/>
                  </a:lnTo>
                  <a:lnTo>
                    <a:pt x="15464" y="3411"/>
                  </a:lnTo>
                  <a:lnTo>
                    <a:pt x="15331" y="3151"/>
                  </a:lnTo>
                  <a:lnTo>
                    <a:pt x="15186" y="2899"/>
                  </a:lnTo>
                  <a:lnTo>
                    <a:pt x="15029" y="2655"/>
                  </a:lnTo>
                  <a:lnTo>
                    <a:pt x="14862" y="2419"/>
                  </a:lnTo>
                  <a:lnTo>
                    <a:pt x="14683" y="2191"/>
                  </a:lnTo>
                  <a:lnTo>
                    <a:pt x="14493" y="1973"/>
                  </a:lnTo>
                  <a:lnTo>
                    <a:pt x="14295" y="1763"/>
                  </a:lnTo>
                  <a:lnTo>
                    <a:pt x="14085" y="1565"/>
                  </a:lnTo>
                  <a:lnTo>
                    <a:pt x="13866" y="1375"/>
                  </a:lnTo>
                  <a:lnTo>
                    <a:pt x="13639" y="1196"/>
                  </a:lnTo>
                  <a:lnTo>
                    <a:pt x="13403" y="1029"/>
                  </a:lnTo>
                  <a:lnTo>
                    <a:pt x="13159" y="872"/>
                  </a:lnTo>
                  <a:lnTo>
                    <a:pt x="12907" y="727"/>
                  </a:lnTo>
                  <a:lnTo>
                    <a:pt x="12647" y="594"/>
                  </a:lnTo>
                  <a:lnTo>
                    <a:pt x="12380" y="474"/>
                  </a:lnTo>
                  <a:lnTo>
                    <a:pt x="12107" y="365"/>
                  </a:lnTo>
                  <a:lnTo>
                    <a:pt x="11827" y="271"/>
                  </a:lnTo>
                  <a:lnTo>
                    <a:pt x="11541" y="190"/>
                  </a:lnTo>
                  <a:lnTo>
                    <a:pt x="11250" y="122"/>
                  </a:lnTo>
                  <a:lnTo>
                    <a:pt x="10954" y="69"/>
                  </a:lnTo>
                  <a:lnTo>
                    <a:pt x="10651" y="31"/>
                  </a:lnTo>
                  <a:lnTo>
                    <a:pt x="10346" y="8"/>
                  </a:lnTo>
                  <a:lnTo>
                    <a:pt x="100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id-ID"/>
            </a:p>
          </p:txBody>
        </p:sp>
        <p:sp>
          <p:nvSpPr>
            <p:cNvPr id="36" name="Freeform 6"/>
            <p:cNvSpPr/>
            <p:nvPr>
              <p:custDataLst>
                <p:tags r:id="rId16"/>
              </p:custDataLst>
            </p:nvPr>
          </p:nvSpPr>
          <p:spPr bwMode="auto">
            <a:xfrm>
              <a:off x="2284413" y="1185863"/>
              <a:ext cx="161925" cy="161925"/>
            </a:xfrm>
            <a:custGeom>
              <a:avLst/>
              <a:gdLst>
                <a:gd name="T0" fmla="*/ 2977 w 3763"/>
                <a:gd name="T1" fmla="*/ 40 h 3764"/>
                <a:gd name="T2" fmla="*/ 2305 w 3763"/>
                <a:gd name="T3" fmla="*/ 213 h 3764"/>
                <a:gd name="T4" fmla="*/ 1691 w 3763"/>
                <a:gd name="T5" fmla="*/ 509 h 3764"/>
                <a:gd name="T6" fmla="*/ 1151 w 3763"/>
                <a:gd name="T7" fmla="*/ 912 h 3764"/>
                <a:gd name="T8" fmla="*/ 697 w 3763"/>
                <a:gd name="T9" fmla="*/ 1411 h 3764"/>
                <a:gd name="T10" fmla="*/ 346 w 3763"/>
                <a:gd name="T11" fmla="*/ 1990 h 3764"/>
                <a:gd name="T12" fmla="*/ 110 w 3763"/>
                <a:gd name="T13" fmla="*/ 2635 h 3764"/>
                <a:gd name="T14" fmla="*/ 5 w 3763"/>
                <a:gd name="T15" fmla="*/ 3332 h 3764"/>
                <a:gd name="T16" fmla="*/ 3 w 3763"/>
                <a:gd name="T17" fmla="*/ 3551 h 3764"/>
                <a:gd name="T18" fmla="*/ 15 w 3763"/>
                <a:gd name="T19" fmla="*/ 3599 h 3764"/>
                <a:gd name="T20" fmla="*/ 36 w 3763"/>
                <a:gd name="T21" fmla="*/ 3643 h 3764"/>
                <a:gd name="T22" fmla="*/ 65 w 3763"/>
                <a:gd name="T23" fmla="*/ 3681 h 3764"/>
                <a:gd name="T24" fmla="*/ 100 w 3763"/>
                <a:gd name="T25" fmla="*/ 3713 h 3764"/>
                <a:gd name="T26" fmla="*/ 142 w 3763"/>
                <a:gd name="T27" fmla="*/ 3739 h 3764"/>
                <a:gd name="T28" fmla="*/ 188 w 3763"/>
                <a:gd name="T29" fmla="*/ 3756 h 3764"/>
                <a:gd name="T30" fmla="*/ 237 w 3763"/>
                <a:gd name="T31" fmla="*/ 3764 h 3764"/>
                <a:gd name="T32" fmla="*/ 289 w 3763"/>
                <a:gd name="T33" fmla="*/ 3761 h 3764"/>
                <a:gd name="T34" fmla="*/ 337 w 3763"/>
                <a:gd name="T35" fmla="*/ 3749 h 3764"/>
                <a:gd name="T36" fmla="*/ 381 w 3763"/>
                <a:gd name="T37" fmla="*/ 3728 h 3764"/>
                <a:gd name="T38" fmla="*/ 419 w 3763"/>
                <a:gd name="T39" fmla="*/ 3698 h 3764"/>
                <a:gd name="T40" fmla="*/ 451 w 3763"/>
                <a:gd name="T41" fmla="*/ 3663 h 3764"/>
                <a:gd name="T42" fmla="*/ 476 w 3763"/>
                <a:gd name="T43" fmla="*/ 3621 h 3764"/>
                <a:gd name="T44" fmla="*/ 493 w 3763"/>
                <a:gd name="T45" fmla="*/ 3576 h 3764"/>
                <a:gd name="T46" fmla="*/ 501 w 3763"/>
                <a:gd name="T47" fmla="*/ 3526 h 3764"/>
                <a:gd name="T48" fmla="*/ 537 w 3763"/>
                <a:gd name="T49" fmla="*/ 3054 h 3764"/>
                <a:gd name="T50" fmla="*/ 684 w 3763"/>
                <a:gd name="T51" fmla="*/ 2478 h 3764"/>
                <a:gd name="T52" fmla="*/ 937 w 3763"/>
                <a:gd name="T53" fmla="*/ 1952 h 3764"/>
                <a:gd name="T54" fmla="*/ 1283 w 3763"/>
                <a:gd name="T55" fmla="*/ 1488 h 3764"/>
                <a:gd name="T56" fmla="*/ 1711 w 3763"/>
                <a:gd name="T57" fmla="*/ 1100 h 3764"/>
                <a:gd name="T58" fmla="*/ 2208 w 3763"/>
                <a:gd name="T59" fmla="*/ 799 h 3764"/>
                <a:gd name="T60" fmla="*/ 2760 w 3763"/>
                <a:gd name="T61" fmla="*/ 596 h 3764"/>
                <a:gd name="T62" fmla="*/ 3358 w 3763"/>
                <a:gd name="T63" fmla="*/ 506 h 3764"/>
                <a:gd name="T64" fmla="*/ 3550 w 3763"/>
                <a:gd name="T65" fmla="*/ 499 h 3764"/>
                <a:gd name="T66" fmla="*/ 3599 w 3763"/>
                <a:gd name="T67" fmla="*/ 487 h 3764"/>
                <a:gd name="T68" fmla="*/ 3643 w 3763"/>
                <a:gd name="T69" fmla="*/ 466 h 3764"/>
                <a:gd name="T70" fmla="*/ 3681 w 3763"/>
                <a:gd name="T71" fmla="*/ 437 h 3764"/>
                <a:gd name="T72" fmla="*/ 3713 w 3763"/>
                <a:gd name="T73" fmla="*/ 402 h 3764"/>
                <a:gd name="T74" fmla="*/ 3738 w 3763"/>
                <a:gd name="T75" fmla="*/ 359 h 3764"/>
                <a:gd name="T76" fmla="*/ 3755 w 3763"/>
                <a:gd name="T77" fmla="*/ 313 h 3764"/>
                <a:gd name="T78" fmla="*/ 3763 w 3763"/>
                <a:gd name="T79" fmla="*/ 264 h 3764"/>
                <a:gd name="T80" fmla="*/ 3760 w 3763"/>
                <a:gd name="T81" fmla="*/ 213 h 3764"/>
                <a:gd name="T82" fmla="*/ 3748 w 3763"/>
                <a:gd name="T83" fmla="*/ 165 h 3764"/>
                <a:gd name="T84" fmla="*/ 3727 w 3763"/>
                <a:gd name="T85" fmla="*/ 120 h 3764"/>
                <a:gd name="T86" fmla="*/ 3698 w 3763"/>
                <a:gd name="T87" fmla="*/ 82 h 3764"/>
                <a:gd name="T88" fmla="*/ 3663 w 3763"/>
                <a:gd name="T89" fmla="*/ 50 h 3764"/>
                <a:gd name="T90" fmla="*/ 3621 w 3763"/>
                <a:gd name="T91" fmla="*/ 25 h 3764"/>
                <a:gd name="T92" fmla="*/ 3574 w 3763"/>
                <a:gd name="T93" fmla="*/ 8 h 3764"/>
                <a:gd name="T94" fmla="*/ 3525 w 3763"/>
                <a:gd name="T95" fmla="*/ 0 h 3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63" h="3764">
                  <a:moveTo>
                    <a:pt x="3512" y="0"/>
                  </a:moveTo>
                  <a:lnTo>
                    <a:pt x="3332" y="5"/>
                  </a:lnTo>
                  <a:lnTo>
                    <a:pt x="3153" y="18"/>
                  </a:lnTo>
                  <a:lnTo>
                    <a:pt x="2977" y="40"/>
                  </a:lnTo>
                  <a:lnTo>
                    <a:pt x="2805" y="71"/>
                  </a:lnTo>
                  <a:lnTo>
                    <a:pt x="2634" y="110"/>
                  </a:lnTo>
                  <a:lnTo>
                    <a:pt x="2467" y="158"/>
                  </a:lnTo>
                  <a:lnTo>
                    <a:pt x="2305" y="213"/>
                  </a:lnTo>
                  <a:lnTo>
                    <a:pt x="2145" y="276"/>
                  </a:lnTo>
                  <a:lnTo>
                    <a:pt x="1990" y="346"/>
                  </a:lnTo>
                  <a:lnTo>
                    <a:pt x="1838" y="424"/>
                  </a:lnTo>
                  <a:lnTo>
                    <a:pt x="1691" y="509"/>
                  </a:lnTo>
                  <a:lnTo>
                    <a:pt x="1548" y="600"/>
                  </a:lnTo>
                  <a:lnTo>
                    <a:pt x="1411" y="698"/>
                  </a:lnTo>
                  <a:lnTo>
                    <a:pt x="1278" y="802"/>
                  </a:lnTo>
                  <a:lnTo>
                    <a:pt x="1151" y="912"/>
                  </a:lnTo>
                  <a:lnTo>
                    <a:pt x="1028" y="1029"/>
                  </a:lnTo>
                  <a:lnTo>
                    <a:pt x="912" y="1151"/>
                  </a:lnTo>
                  <a:lnTo>
                    <a:pt x="801" y="1279"/>
                  </a:lnTo>
                  <a:lnTo>
                    <a:pt x="697" y="1411"/>
                  </a:lnTo>
                  <a:lnTo>
                    <a:pt x="600" y="1549"/>
                  </a:lnTo>
                  <a:lnTo>
                    <a:pt x="508" y="1691"/>
                  </a:lnTo>
                  <a:lnTo>
                    <a:pt x="423" y="1839"/>
                  </a:lnTo>
                  <a:lnTo>
                    <a:pt x="346" y="1990"/>
                  </a:lnTo>
                  <a:lnTo>
                    <a:pt x="276" y="2146"/>
                  </a:lnTo>
                  <a:lnTo>
                    <a:pt x="212" y="2305"/>
                  </a:lnTo>
                  <a:lnTo>
                    <a:pt x="157" y="2468"/>
                  </a:lnTo>
                  <a:lnTo>
                    <a:pt x="110" y="2635"/>
                  </a:lnTo>
                  <a:lnTo>
                    <a:pt x="71" y="2805"/>
                  </a:lnTo>
                  <a:lnTo>
                    <a:pt x="40" y="2978"/>
                  </a:lnTo>
                  <a:lnTo>
                    <a:pt x="18" y="3153"/>
                  </a:lnTo>
                  <a:lnTo>
                    <a:pt x="5" y="3332"/>
                  </a:lnTo>
                  <a:lnTo>
                    <a:pt x="0" y="3513"/>
                  </a:lnTo>
                  <a:lnTo>
                    <a:pt x="0" y="3526"/>
                  </a:lnTo>
                  <a:lnTo>
                    <a:pt x="1" y="3539"/>
                  </a:lnTo>
                  <a:lnTo>
                    <a:pt x="3" y="3551"/>
                  </a:lnTo>
                  <a:lnTo>
                    <a:pt x="5" y="3563"/>
                  </a:lnTo>
                  <a:lnTo>
                    <a:pt x="8" y="3576"/>
                  </a:lnTo>
                  <a:lnTo>
                    <a:pt x="11" y="3587"/>
                  </a:lnTo>
                  <a:lnTo>
                    <a:pt x="15" y="3599"/>
                  </a:lnTo>
                  <a:lnTo>
                    <a:pt x="20" y="3610"/>
                  </a:lnTo>
                  <a:lnTo>
                    <a:pt x="25" y="3621"/>
                  </a:lnTo>
                  <a:lnTo>
                    <a:pt x="30" y="3632"/>
                  </a:lnTo>
                  <a:lnTo>
                    <a:pt x="36" y="3643"/>
                  </a:lnTo>
                  <a:lnTo>
                    <a:pt x="43" y="3653"/>
                  </a:lnTo>
                  <a:lnTo>
                    <a:pt x="50" y="3663"/>
                  </a:lnTo>
                  <a:lnTo>
                    <a:pt x="57" y="3672"/>
                  </a:lnTo>
                  <a:lnTo>
                    <a:pt x="65" y="3681"/>
                  </a:lnTo>
                  <a:lnTo>
                    <a:pt x="73" y="3690"/>
                  </a:lnTo>
                  <a:lnTo>
                    <a:pt x="82" y="3698"/>
                  </a:lnTo>
                  <a:lnTo>
                    <a:pt x="91" y="3706"/>
                  </a:lnTo>
                  <a:lnTo>
                    <a:pt x="100" y="3713"/>
                  </a:lnTo>
                  <a:lnTo>
                    <a:pt x="110" y="3721"/>
                  </a:lnTo>
                  <a:lnTo>
                    <a:pt x="120" y="3728"/>
                  </a:lnTo>
                  <a:lnTo>
                    <a:pt x="131" y="3734"/>
                  </a:lnTo>
                  <a:lnTo>
                    <a:pt x="142" y="3739"/>
                  </a:lnTo>
                  <a:lnTo>
                    <a:pt x="153" y="3744"/>
                  </a:lnTo>
                  <a:lnTo>
                    <a:pt x="164" y="3749"/>
                  </a:lnTo>
                  <a:lnTo>
                    <a:pt x="176" y="3753"/>
                  </a:lnTo>
                  <a:lnTo>
                    <a:pt x="188" y="3756"/>
                  </a:lnTo>
                  <a:lnTo>
                    <a:pt x="200" y="3759"/>
                  </a:lnTo>
                  <a:lnTo>
                    <a:pt x="212" y="3761"/>
                  </a:lnTo>
                  <a:lnTo>
                    <a:pt x="224" y="3763"/>
                  </a:lnTo>
                  <a:lnTo>
                    <a:pt x="237" y="3764"/>
                  </a:lnTo>
                  <a:lnTo>
                    <a:pt x="250" y="3764"/>
                  </a:lnTo>
                  <a:lnTo>
                    <a:pt x="264" y="3764"/>
                  </a:lnTo>
                  <a:lnTo>
                    <a:pt x="276" y="3763"/>
                  </a:lnTo>
                  <a:lnTo>
                    <a:pt x="289" y="3761"/>
                  </a:lnTo>
                  <a:lnTo>
                    <a:pt x="301" y="3759"/>
                  </a:lnTo>
                  <a:lnTo>
                    <a:pt x="313" y="3756"/>
                  </a:lnTo>
                  <a:lnTo>
                    <a:pt x="325" y="3753"/>
                  </a:lnTo>
                  <a:lnTo>
                    <a:pt x="337" y="3749"/>
                  </a:lnTo>
                  <a:lnTo>
                    <a:pt x="348" y="3744"/>
                  </a:lnTo>
                  <a:lnTo>
                    <a:pt x="359" y="3739"/>
                  </a:lnTo>
                  <a:lnTo>
                    <a:pt x="370" y="3734"/>
                  </a:lnTo>
                  <a:lnTo>
                    <a:pt x="381" y="3728"/>
                  </a:lnTo>
                  <a:lnTo>
                    <a:pt x="391" y="3721"/>
                  </a:lnTo>
                  <a:lnTo>
                    <a:pt x="401" y="3713"/>
                  </a:lnTo>
                  <a:lnTo>
                    <a:pt x="410" y="3706"/>
                  </a:lnTo>
                  <a:lnTo>
                    <a:pt x="419" y="3698"/>
                  </a:lnTo>
                  <a:lnTo>
                    <a:pt x="428" y="3690"/>
                  </a:lnTo>
                  <a:lnTo>
                    <a:pt x="436" y="3681"/>
                  </a:lnTo>
                  <a:lnTo>
                    <a:pt x="444" y="3672"/>
                  </a:lnTo>
                  <a:lnTo>
                    <a:pt x="451" y="3663"/>
                  </a:lnTo>
                  <a:lnTo>
                    <a:pt x="458" y="3653"/>
                  </a:lnTo>
                  <a:lnTo>
                    <a:pt x="465" y="3643"/>
                  </a:lnTo>
                  <a:lnTo>
                    <a:pt x="471" y="3632"/>
                  </a:lnTo>
                  <a:lnTo>
                    <a:pt x="476" y="3621"/>
                  </a:lnTo>
                  <a:lnTo>
                    <a:pt x="481" y="3610"/>
                  </a:lnTo>
                  <a:lnTo>
                    <a:pt x="486" y="3599"/>
                  </a:lnTo>
                  <a:lnTo>
                    <a:pt x="490" y="3587"/>
                  </a:lnTo>
                  <a:lnTo>
                    <a:pt x="493" y="3576"/>
                  </a:lnTo>
                  <a:lnTo>
                    <a:pt x="496" y="3563"/>
                  </a:lnTo>
                  <a:lnTo>
                    <a:pt x="498" y="3551"/>
                  </a:lnTo>
                  <a:lnTo>
                    <a:pt x="500" y="3539"/>
                  </a:lnTo>
                  <a:lnTo>
                    <a:pt x="501" y="3526"/>
                  </a:lnTo>
                  <a:lnTo>
                    <a:pt x="501" y="3513"/>
                  </a:lnTo>
                  <a:lnTo>
                    <a:pt x="505" y="3358"/>
                  </a:lnTo>
                  <a:lnTo>
                    <a:pt x="517" y="3205"/>
                  </a:lnTo>
                  <a:lnTo>
                    <a:pt x="537" y="3054"/>
                  </a:lnTo>
                  <a:lnTo>
                    <a:pt x="563" y="2907"/>
                  </a:lnTo>
                  <a:lnTo>
                    <a:pt x="596" y="2760"/>
                  </a:lnTo>
                  <a:lnTo>
                    <a:pt x="637" y="2618"/>
                  </a:lnTo>
                  <a:lnTo>
                    <a:pt x="684" y="2478"/>
                  </a:lnTo>
                  <a:lnTo>
                    <a:pt x="738" y="2341"/>
                  </a:lnTo>
                  <a:lnTo>
                    <a:pt x="798" y="2208"/>
                  </a:lnTo>
                  <a:lnTo>
                    <a:pt x="865" y="2078"/>
                  </a:lnTo>
                  <a:lnTo>
                    <a:pt x="937" y="1952"/>
                  </a:lnTo>
                  <a:lnTo>
                    <a:pt x="1015" y="1830"/>
                  </a:lnTo>
                  <a:lnTo>
                    <a:pt x="1100" y="1711"/>
                  </a:lnTo>
                  <a:lnTo>
                    <a:pt x="1189" y="1598"/>
                  </a:lnTo>
                  <a:lnTo>
                    <a:pt x="1283" y="1488"/>
                  </a:lnTo>
                  <a:lnTo>
                    <a:pt x="1384" y="1384"/>
                  </a:lnTo>
                  <a:lnTo>
                    <a:pt x="1488" y="1285"/>
                  </a:lnTo>
                  <a:lnTo>
                    <a:pt x="1597" y="1189"/>
                  </a:lnTo>
                  <a:lnTo>
                    <a:pt x="1711" y="1100"/>
                  </a:lnTo>
                  <a:lnTo>
                    <a:pt x="1829" y="1017"/>
                  </a:lnTo>
                  <a:lnTo>
                    <a:pt x="1952" y="937"/>
                  </a:lnTo>
                  <a:lnTo>
                    <a:pt x="2077" y="865"/>
                  </a:lnTo>
                  <a:lnTo>
                    <a:pt x="2208" y="799"/>
                  </a:lnTo>
                  <a:lnTo>
                    <a:pt x="2340" y="739"/>
                  </a:lnTo>
                  <a:lnTo>
                    <a:pt x="2478" y="685"/>
                  </a:lnTo>
                  <a:lnTo>
                    <a:pt x="2617" y="637"/>
                  </a:lnTo>
                  <a:lnTo>
                    <a:pt x="2760" y="596"/>
                  </a:lnTo>
                  <a:lnTo>
                    <a:pt x="2906" y="563"/>
                  </a:lnTo>
                  <a:lnTo>
                    <a:pt x="3054" y="537"/>
                  </a:lnTo>
                  <a:lnTo>
                    <a:pt x="3204" y="517"/>
                  </a:lnTo>
                  <a:lnTo>
                    <a:pt x="3358" y="506"/>
                  </a:lnTo>
                  <a:lnTo>
                    <a:pt x="3512" y="502"/>
                  </a:lnTo>
                  <a:lnTo>
                    <a:pt x="3525" y="502"/>
                  </a:lnTo>
                  <a:lnTo>
                    <a:pt x="3538" y="501"/>
                  </a:lnTo>
                  <a:lnTo>
                    <a:pt x="3550" y="499"/>
                  </a:lnTo>
                  <a:lnTo>
                    <a:pt x="3562" y="497"/>
                  </a:lnTo>
                  <a:lnTo>
                    <a:pt x="3574" y="494"/>
                  </a:lnTo>
                  <a:lnTo>
                    <a:pt x="3587" y="491"/>
                  </a:lnTo>
                  <a:lnTo>
                    <a:pt x="3599" y="487"/>
                  </a:lnTo>
                  <a:lnTo>
                    <a:pt x="3610" y="482"/>
                  </a:lnTo>
                  <a:lnTo>
                    <a:pt x="3621" y="477"/>
                  </a:lnTo>
                  <a:lnTo>
                    <a:pt x="3632" y="472"/>
                  </a:lnTo>
                  <a:lnTo>
                    <a:pt x="3643" y="466"/>
                  </a:lnTo>
                  <a:lnTo>
                    <a:pt x="3653" y="459"/>
                  </a:lnTo>
                  <a:lnTo>
                    <a:pt x="3663" y="452"/>
                  </a:lnTo>
                  <a:lnTo>
                    <a:pt x="3672" y="445"/>
                  </a:lnTo>
                  <a:lnTo>
                    <a:pt x="3681" y="437"/>
                  </a:lnTo>
                  <a:lnTo>
                    <a:pt x="3690" y="429"/>
                  </a:lnTo>
                  <a:lnTo>
                    <a:pt x="3698" y="420"/>
                  </a:lnTo>
                  <a:lnTo>
                    <a:pt x="3706" y="411"/>
                  </a:lnTo>
                  <a:lnTo>
                    <a:pt x="3713" y="402"/>
                  </a:lnTo>
                  <a:lnTo>
                    <a:pt x="3720" y="391"/>
                  </a:lnTo>
                  <a:lnTo>
                    <a:pt x="3727" y="381"/>
                  </a:lnTo>
                  <a:lnTo>
                    <a:pt x="3733" y="370"/>
                  </a:lnTo>
                  <a:lnTo>
                    <a:pt x="3738" y="359"/>
                  </a:lnTo>
                  <a:lnTo>
                    <a:pt x="3743" y="348"/>
                  </a:lnTo>
                  <a:lnTo>
                    <a:pt x="3748" y="337"/>
                  </a:lnTo>
                  <a:lnTo>
                    <a:pt x="3752" y="325"/>
                  </a:lnTo>
                  <a:lnTo>
                    <a:pt x="3755" y="313"/>
                  </a:lnTo>
                  <a:lnTo>
                    <a:pt x="3758" y="301"/>
                  </a:lnTo>
                  <a:lnTo>
                    <a:pt x="3760" y="289"/>
                  </a:lnTo>
                  <a:lnTo>
                    <a:pt x="3762" y="276"/>
                  </a:lnTo>
                  <a:lnTo>
                    <a:pt x="3763" y="264"/>
                  </a:lnTo>
                  <a:lnTo>
                    <a:pt x="3763" y="251"/>
                  </a:lnTo>
                  <a:lnTo>
                    <a:pt x="3763" y="238"/>
                  </a:lnTo>
                  <a:lnTo>
                    <a:pt x="3762" y="225"/>
                  </a:lnTo>
                  <a:lnTo>
                    <a:pt x="3760" y="213"/>
                  </a:lnTo>
                  <a:lnTo>
                    <a:pt x="3758" y="201"/>
                  </a:lnTo>
                  <a:lnTo>
                    <a:pt x="3755" y="188"/>
                  </a:lnTo>
                  <a:lnTo>
                    <a:pt x="3752" y="177"/>
                  </a:lnTo>
                  <a:lnTo>
                    <a:pt x="3748" y="165"/>
                  </a:lnTo>
                  <a:lnTo>
                    <a:pt x="3743" y="154"/>
                  </a:lnTo>
                  <a:lnTo>
                    <a:pt x="3738" y="143"/>
                  </a:lnTo>
                  <a:lnTo>
                    <a:pt x="3733" y="132"/>
                  </a:lnTo>
                  <a:lnTo>
                    <a:pt x="3727" y="120"/>
                  </a:lnTo>
                  <a:lnTo>
                    <a:pt x="3720" y="110"/>
                  </a:lnTo>
                  <a:lnTo>
                    <a:pt x="3713" y="100"/>
                  </a:lnTo>
                  <a:lnTo>
                    <a:pt x="3706" y="91"/>
                  </a:lnTo>
                  <a:lnTo>
                    <a:pt x="3698" y="82"/>
                  </a:lnTo>
                  <a:lnTo>
                    <a:pt x="3690" y="73"/>
                  </a:lnTo>
                  <a:lnTo>
                    <a:pt x="3681" y="65"/>
                  </a:lnTo>
                  <a:lnTo>
                    <a:pt x="3672" y="57"/>
                  </a:lnTo>
                  <a:lnTo>
                    <a:pt x="3663" y="50"/>
                  </a:lnTo>
                  <a:lnTo>
                    <a:pt x="3653" y="43"/>
                  </a:lnTo>
                  <a:lnTo>
                    <a:pt x="3643" y="36"/>
                  </a:lnTo>
                  <a:lnTo>
                    <a:pt x="3632" y="30"/>
                  </a:lnTo>
                  <a:lnTo>
                    <a:pt x="3621" y="25"/>
                  </a:lnTo>
                  <a:lnTo>
                    <a:pt x="3610" y="20"/>
                  </a:lnTo>
                  <a:lnTo>
                    <a:pt x="3599" y="15"/>
                  </a:lnTo>
                  <a:lnTo>
                    <a:pt x="3587" y="11"/>
                  </a:lnTo>
                  <a:lnTo>
                    <a:pt x="3574" y="8"/>
                  </a:lnTo>
                  <a:lnTo>
                    <a:pt x="3562" y="5"/>
                  </a:lnTo>
                  <a:lnTo>
                    <a:pt x="3550" y="3"/>
                  </a:lnTo>
                  <a:lnTo>
                    <a:pt x="3538" y="1"/>
                  </a:lnTo>
                  <a:lnTo>
                    <a:pt x="3525" y="0"/>
                  </a:lnTo>
                  <a:lnTo>
                    <a:pt x="35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id-ID"/>
            </a:p>
          </p:txBody>
        </p:sp>
      </p:grpSp>
      <p:grpSp>
        <p:nvGrpSpPr>
          <p:cNvPr id="82" name="Group 81"/>
          <p:cNvGrpSpPr/>
          <p:nvPr>
            <p:custDataLst>
              <p:tags r:id="rId17"/>
            </p:custDataLst>
          </p:nvPr>
        </p:nvGrpSpPr>
        <p:grpSpPr>
          <a:xfrm flipH="1">
            <a:off x="6672913" y="3427745"/>
            <a:ext cx="1963059" cy="496858"/>
            <a:chOff x="2568804" y="2757465"/>
            <a:chExt cx="1963059" cy="496858"/>
          </a:xfrm>
        </p:grpSpPr>
        <p:cxnSp>
          <p:nvCxnSpPr>
            <p:cNvPr id="84" name="Straight Connector 83"/>
            <p:cNvCxnSpPr/>
            <p:nvPr>
              <p:custDataLst>
                <p:tags r:id="rId18"/>
              </p:custDataLst>
            </p:nvPr>
          </p:nvCxnSpPr>
          <p:spPr>
            <a:xfrm flipH="1">
              <a:off x="2568804" y="2757465"/>
              <a:ext cx="1404294" cy="496858"/>
            </a:xfrm>
            <a:prstGeom prst="line">
              <a:avLst/>
            </a:prstGeom>
            <a:ln w="12700">
              <a:solidFill>
                <a:sysClr val="window" lastClr="FFFFFF">
                  <a:lumMod val="65000"/>
                </a:sysClr>
              </a:solidFill>
              <a:headEnd type="none"/>
              <a:tailEnd type="oval"/>
            </a:ln>
          </p:spPr>
          <p:style>
            <a:lnRef idx="1">
              <a:srgbClr val="1F74AD"/>
            </a:lnRef>
            <a:fillRef idx="0">
              <a:srgbClr val="1F74AD"/>
            </a:fillRef>
            <a:effectRef idx="0">
              <a:srgbClr val="1F74AD"/>
            </a:effectRef>
            <a:fontRef idx="minor">
              <a:srgbClr val="000000"/>
            </a:fontRef>
          </p:style>
        </p:cxnSp>
        <p:cxnSp>
          <p:nvCxnSpPr>
            <p:cNvPr id="85" name="Straight Connector 84"/>
            <p:cNvCxnSpPr/>
            <p:nvPr>
              <p:custDataLst>
                <p:tags r:id="rId19"/>
              </p:custDataLst>
            </p:nvPr>
          </p:nvCxnSpPr>
          <p:spPr>
            <a:xfrm flipH="1" flipV="1">
              <a:off x="3973098" y="2757465"/>
              <a:ext cx="558765" cy="907"/>
            </a:xfrm>
            <a:prstGeom prst="line">
              <a:avLst/>
            </a:prstGeom>
            <a:ln w="12700">
              <a:solidFill>
                <a:sysClr val="window" lastClr="FFFFFF">
                  <a:lumMod val="65000"/>
                </a:sysClr>
              </a:solidFill>
            </a:ln>
          </p:spPr>
          <p:style>
            <a:lnRef idx="1">
              <a:srgbClr val="1F74AD"/>
            </a:lnRef>
            <a:fillRef idx="0">
              <a:srgbClr val="1F74AD"/>
            </a:fillRef>
            <a:effectRef idx="0">
              <a:srgbClr val="1F74AD"/>
            </a:effectRef>
            <a:fontRef idx="minor">
              <a:srgbClr val="000000"/>
            </a:fontRef>
          </p:style>
        </p:cxnSp>
      </p:grpSp>
      <p:sp>
        <p:nvSpPr>
          <p:cNvPr id="83" name="Oval 82"/>
          <p:cNvSpPr/>
          <p:nvPr>
            <p:custDataLst>
              <p:tags r:id="rId20"/>
            </p:custDataLst>
          </p:nvPr>
        </p:nvSpPr>
        <p:spPr>
          <a:xfrm flipH="1">
            <a:off x="6533180" y="3332495"/>
            <a:ext cx="190500" cy="190500"/>
          </a:xfrm>
          <a:prstGeom prst="ellipse">
            <a:avLst/>
          </a:prstGeom>
          <a:solidFill>
            <a:sysClr val="window" lastClr="FFFFFF">
              <a:lumMod val="85000"/>
            </a:sysClr>
          </a:solidFill>
          <a:ln>
            <a:noFill/>
          </a:ln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rtlCol="0" anchor="ctr"/>
          <a:p>
            <a:pPr algn="ctr"/>
            <a:endParaRPr lang="id-ID">
              <a:solidFill>
                <a:schemeClr val="bg1"/>
              </a:solidFill>
            </a:endParaRPr>
          </a:p>
        </p:txBody>
      </p:sp>
      <p:cxnSp>
        <p:nvCxnSpPr>
          <p:cNvPr id="90" name="Straight Connector 89"/>
          <p:cNvCxnSpPr>
            <a:stCxn id="89" idx="2"/>
          </p:cNvCxnSpPr>
          <p:nvPr>
            <p:custDataLst>
              <p:tags r:id="rId21"/>
            </p:custDataLst>
          </p:nvPr>
        </p:nvCxnSpPr>
        <p:spPr>
          <a:xfrm>
            <a:off x="8325546" y="2265188"/>
            <a:ext cx="1652022" cy="824919"/>
          </a:xfrm>
          <a:prstGeom prst="line">
            <a:avLst/>
          </a:prstGeom>
          <a:ln w="12700">
            <a:solidFill>
              <a:sysClr val="window" lastClr="FFFFFF">
                <a:lumMod val="65000"/>
              </a:sysClr>
            </a:solidFill>
            <a:headEnd type="none"/>
            <a:tailEnd type="oval"/>
          </a:ln>
        </p:spPr>
        <p:style>
          <a:lnRef idx="1">
            <a:srgbClr val="1F74AD"/>
          </a:lnRef>
          <a:fillRef idx="0">
            <a:srgbClr val="1F74AD"/>
          </a:fillRef>
          <a:effectRef idx="0">
            <a:srgbClr val="1F74AD"/>
          </a:effectRef>
          <a:fontRef idx="minor">
            <a:srgbClr val="000000"/>
          </a:fontRef>
        </p:style>
      </p:cxnSp>
      <p:sp>
        <p:nvSpPr>
          <p:cNvPr id="89" name="Oval 88"/>
          <p:cNvSpPr/>
          <p:nvPr>
            <p:custDataLst>
              <p:tags r:id="rId22"/>
            </p:custDataLst>
          </p:nvPr>
        </p:nvSpPr>
        <p:spPr>
          <a:xfrm flipH="1">
            <a:off x="8135046" y="2169938"/>
            <a:ext cx="190500" cy="190500"/>
          </a:xfrm>
          <a:prstGeom prst="ellipse">
            <a:avLst/>
          </a:prstGeom>
          <a:solidFill>
            <a:sysClr val="window" lastClr="FFFFFF">
              <a:lumMod val="85000"/>
            </a:sysClr>
          </a:solidFill>
          <a:ln>
            <a:noFill/>
          </a:ln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rtlCol="0" anchor="ctr"/>
          <a:p>
            <a:pPr algn="ctr"/>
            <a:endParaRPr lang="id-ID"/>
          </a:p>
        </p:txBody>
      </p:sp>
      <p:sp>
        <p:nvSpPr>
          <p:cNvPr id="69" name="Oval 68"/>
          <p:cNvSpPr/>
          <p:nvPr>
            <p:custDataLst>
              <p:tags r:id="rId23"/>
            </p:custDataLst>
          </p:nvPr>
        </p:nvSpPr>
        <p:spPr>
          <a:xfrm>
            <a:off x="7331580" y="1915204"/>
            <a:ext cx="736265" cy="736265"/>
          </a:xfrm>
          <a:prstGeom prst="ellipse">
            <a:avLst/>
          </a:prstGeom>
          <a:ln>
            <a:noFill/>
          </a:ln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rtlCol="0" anchor="ctr"/>
          <a:p>
            <a:pPr algn="ctr"/>
            <a:endParaRPr lang="id-ID"/>
          </a:p>
        </p:txBody>
      </p:sp>
      <p:grpSp>
        <p:nvGrpSpPr>
          <p:cNvPr id="105" name="Group 104"/>
          <p:cNvGrpSpPr/>
          <p:nvPr>
            <p:custDataLst>
              <p:tags r:id="rId24"/>
            </p:custDataLst>
          </p:nvPr>
        </p:nvGrpSpPr>
        <p:grpSpPr>
          <a:xfrm>
            <a:off x="7510960" y="2122791"/>
            <a:ext cx="377503" cy="353205"/>
            <a:chOff x="6964363" y="2108200"/>
            <a:chExt cx="690562" cy="646113"/>
          </a:xfrm>
          <a:solidFill>
            <a:sysClr val="window" lastClr="FFFFFF"/>
          </a:solidFill>
        </p:grpSpPr>
        <p:sp>
          <p:nvSpPr>
            <p:cNvPr id="106" name="Freeform 91"/>
            <p:cNvSpPr>
              <a:spLocks noEditPoints="1"/>
            </p:cNvSpPr>
            <p:nvPr>
              <p:custDataLst>
                <p:tags r:id="rId25"/>
              </p:custDataLst>
            </p:nvPr>
          </p:nvSpPr>
          <p:spPr bwMode="auto">
            <a:xfrm>
              <a:off x="7050088" y="2193925"/>
              <a:ext cx="519112" cy="344488"/>
            </a:xfrm>
            <a:custGeom>
              <a:avLst/>
              <a:gdLst>
                <a:gd name="T0" fmla="*/ 503 w 12071"/>
                <a:gd name="T1" fmla="*/ 502 h 8033"/>
                <a:gd name="T2" fmla="*/ 11568 w 12071"/>
                <a:gd name="T3" fmla="*/ 0 h 8033"/>
                <a:gd name="T4" fmla="*/ 452 w 12071"/>
                <a:gd name="T5" fmla="*/ 5 h 8033"/>
                <a:gd name="T6" fmla="*/ 377 w 12071"/>
                <a:gd name="T7" fmla="*/ 18 h 8033"/>
                <a:gd name="T8" fmla="*/ 307 w 12071"/>
                <a:gd name="T9" fmla="*/ 41 h 8033"/>
                <a:gd name="T10" fmla="*/ 242 w 12071"/>
                <a:gd name="T11" fmla="*/ 74 h 8033"/>
                <a:gd name="T12" fmla="*/ 183 w 12071"/>
                <a:gd name="T13" fmla="*/ 116 h 8033"/>
                <a:gd name="T14" fmla="*/ 131 w 12071"/>
                <a:gd name="T15" fmla="*/ 166 h 8033"/>
                <a:gd name="T16" fmla="*/ 85 w 12071"/>
                <a:gd name="T17" fmla="*/ 222 h 8033"/>
                <a:gd name="T18" fmla="*/ 49 w 12071"/>
                <a:gd name="T19" fmla="*/ 284 h 8033"/>
                <a:gd name="T20" fmla="*/ 22 w 12071"/>
                <a:gd name="T21" fmla="*/ 353 h 8033"/>
                <a:gd name="T22" fmla="*/ 6 w 12071"/>
                <a:gd name="T23" fmla="*/ 426 h 8033"/>
                <a:gd name="T24" fmla="*/ 0 w 12071"/>
                <a:gd name="T25" fmla="*/ 502 h 8033"/>
                <a:gd name="T26" fmla="*/ 3 w 12071"/>
                <a:gd name="T27" fmla="*/ 7582 h 8033"/>
                <a:gd name="T28" fmla="*/ 16 w 12071"/>
                <a:gd name="T29" fmla="*/ 7656 h 8033"/>
                <a:gd name="T30" fmla="*/ 39 w 12071"/>
                <a:gd name="T31" fmla="*/ 7726 h 8033"/>
                <a:gd name="T32" fmla="*/ 72 w 12071"/>
                <a:gd name="T33" fmla="*/ 7792 h 8033"/>
                <a:gd name="T34" fmla="*/ 115 w 12071"/>
                <a:gd name="T35" fmla="*/ 7850 h 8033"/>
                <a:gd name="T36" fmla="*/ 165 w 12071"/>
                <a:gd name="T37" fmla="*/ 7902 h 8033"/>
                <a:gd name="T38" fmla="*/ 221 w 12071"/>
                <a:gd name="T39" fmla="*/ 7947 h 8033"/>
                <a:gd name="T40" fmla="*/ 285 w 12071"/>
                <a:gd name="T41" fmla="*/ 7983 h 8033"/>
                <a:gd name="T42" fmla="*/ 353 w 12071"/>
                <a:gd name="T43" fmla="*/ 8011 h 8033"/>
                <a:gd name="T44" fmla="*/ 426 w 12071"/>
                <a:gd name="T45" fmla="*/ 8027 h 8033"/>
                <a:gd name="T46" fmla="*/ 503 w 12071"/>
                <a:gd name="T47" fmla="*/ 8033 h 8033"/>
                <a:gd name="T48" fmla="*/ 11619 w 12071"/>
                <a:gd name="T49" fmla="*/ 8030 h 8033"/>
                <a:gd name="T50" fmla="*/ 11694 w 12071"/>
                <a:gd name="T51" fmla="*/ 8017 h 8033"/>
                <a:gd name="T52" fmla="*/ 11764 w 12071"/>
                <a:gd name="T53" fmla="*/ 7994 h 8033"/>
                <a:gd name="T54" fmla="*/ 11829 w 12071"/>
                <a:gd name="T55" fmla="*/ 7960 h 8033"/>
                <a:gd name="T56" fmla="*/ 11888 w 12071"/>
                <a:gd name="T57" fmla="*/ 7918 h 8033"/>
                <a:gd name="T58" fmla="*/ 11940 w 12071"/>
                <a:gd name="T59" fmla="*/ 7868 h 8033"/>
                <a:gd name="T60" fmla="*/ 11986 w 12071"/>
                <a:gd name="T61" fmla="*/ 7812 h 8033"/>
                <a:gd name="T62" fmla="*/ 12022 w 12071"/>
                <a:gd name="T63" fmla="*/ 7749 h 8033"/>
                <a:gd name="T64" fmla="*/ 12049 w 12071"/>
                <a:gd name="T65" fmla="*/ 7680 h 8033"/>
                <a:gd name="T66" fmla="*/ 12065 w 12071"/>
                <a:gd name="T67" fmla="*/ 7607 h 8033"/>
                <a:gd name="T68" fmla="*/ 12071 w 12071"/>
                <a:gd name="T69" fmla="*/ 7531 h 8033"/>
                <a:gd name="T70" fmla="*/ 12068 w 12071"/>
                <a:gd name="T71" fmla="*/ 451 h 8033"/>
                <a:gd name="T72" fmla="*/ 12055 w 12071"/>
                <a:gd name="T73" fmla="*/ 377 h 8033"/>
                <a:gd name="T74" fmla="*/ 12032 w 12071"/>
                <a:gd name="T75" fmla="*/ 306 h 8033"/>
                <a:gd name="T76" fmla="*/ 11999 w 12071"/>
                <a:gd name="T77" fmla="*/ 242 h 8033"/>
                <a:gd name="T78" fmla="*/ 11956 w 12071"/>
                <a:gd name="T79" fmla="*/ 183 h 8033"/>
                <a:gd name="T80" fmla="*/ 11906 w 12071"/>
                <a:gd name="T81" fmla="*/ 131 h 8033"/>
                <a:gd name="T82" fmla="*/ 11850 w 12071"/>
                <a:gd name="T83" fmla="*/ 85 h 8033"/>
                <a:gd name="T84" fmla="*/ 11786 w 12071"/>
                <a:gd name="T85" fmla="*/ 49 h 8033"/>
                <a:gd name="T86" fmla="*/ 11718 w 12071"/>
                <a:gd name="T87" fmla="*/ 22 h 8033"/>
                <a:gd name="T88" fmla="*/ 11645 w 12071"/>
                <a:gd name="T89" fmla="*/ 6 h 8033"/>
                <a:gd name="T90" fmla="*/ 11568 w 12071"/>
                <a:gd name="T91" fmla="*/ 0 h 8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71" h="8033">
                  <a:moveTo>
                    <a:pt x="11568" y="7533"/>
                  </a:moveTo>
                  <a:lnTo>
                    <a:pt x="503" y="7533"/>
                  </a:lnTo>
                  <a:lnTo>
                    <a:pt x="503" y="502"/>
                  </a:lnTo>
                  <a:lnTo>
                    <a:pt x="11568" y="502"/>
                  </a:lnTo>
                  <a:lnTo>
                    <a:pt x="11568" y="7533"/>
                  </a:lnTo>
                  <a:close/>
                  <a:moveTo>
                    <a:pt x="11568" y="0"/>
                  </a:moveTo>
                  <a:lnTo>
                    <a:pt x="503" y="2"/>
                  </a:lnTo>
                  <a:lnTo>
                    <a:pt x="477" y="3"/>
                  </a:lnTo>
                  <a:lnTo>
                    <a:pt x="452" y="5"/>
                  </a:lnTo>
                  <a:lnTo>
                    <a:pt x="426" y="8"/>
                  </a:lnTo>
                  <a:lnTo>
                    <a:pt x="401" y="12"/>
                  </a:lnTo>
                  <a:lnTo>
                    <a:pt x="377" y="18"/>
                  </a:lnTo>
                  <a:lnTo>
                    <a:pt x="353" y="24"/>
                  </a:lnTo>
                  <a:lnTo>
                    <a:pt x="330" y="32"/>
                  </a:lnTo>
                  <a:lnTo>
                    <a:pt x="307" y="41"/>
                  </a:lnTo>
                  <a:lnTo>
                    <a:pt x="285" y="51"/>
                  </a:lnTo>
                  <a:lnTo>
                    <a:pt x="263" y="62"/>
                  </a:lnTo>
                  <a:lnTo>
                    <a:pt x="242" y="74"/>
                  </a:lnTo>
                  <a:lnTo>
                    <a:pt x="221" y="87"/>
                  </a:lnTo>
                  <a:lnTo>
                    <a:pt x="202" y="102"/>
                  </a:lnTo>
                  <a:lnTo>
                    <a:pt x="183" y="116"/>
                  </a:lnTo>
                  <a:lnTo>
                    <a:pt x="165" y="132"/>
                  </a:lnTo>
                  <a:lnTo>
                    <a:pt x="147" y="148"/>
                  </a:lnTo>
                  <a:lnTo>
                    <a:pt x="131" y="166"/>
                  </a:lnTo>
                  <a:lnTo>
                    <a:pt x="115" y="184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7"/>
                  </a:lnTo>
                  <a:lnTo>
                    <a:pt x="30" y="329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2"/>
                  </a:lnTo>
                  <a:lnTo>
                    <a:pt x="0" y="7531"/>
                  </a:lnTo>
                  <a:lnTo>
                    <a:pt x="1" y="7557"/>
                  </a:lnTo>
                  <a:lnTo>
                    <a:pt x="3" y="7582"/>
                  </a:lnTo>
                  <a:lnTo>
                    <a:pt x="6" y="7607"/>
                  </a:lnTo>
                  <a:lnTo>
                    <a:pt x="10" y="7632"/>
                  </a:lnTo>
                  <a:lnTo>
                    <a:pt x="16" y="7656"/>
                  </a:lnTo>
                  <a:lnTo>
                    <a:pt x="22" y="7680"/>
                  </a:lnTo>
                  <a:lnTo>
                    <a:pt x="30" y="7703"/>
                  </a:lnTo>
                  <a:lnTo>
                    <a:pt x="39" y="7726"/>
                  </a:lnTo>
                  <a:lnTo>
                    <a:pt x="49" y="7749"/>
                  </a:lnTo>
                  <a:lnTo>
                    <a:pt x="60" y="7771"/>
                  </a:lnTo>
                  <a:lnTo>
                    <a:pt x="72" y="7792"/>
                  </a:lnTo>
                  <a:lnTo>
                    <a:pt x="85" y="7812"/>
                  </a:lnTo>
                  <a:lnTo>
                    <a:pt x="99" y="7831"/>
                  </a:lnTo>
                  <a:lnTo>
                    <a:pt x="115" y="7850"/>
                  </a:lnTo>
                  <a:lnTo>
                    <a:pt x="131" y="7868"/>
                  </a:lnTo>
                  <a:lnTo>
                    <a:pt x="147" y="7886"/>
                  </a:lnTo>
                  <a:lnTo>
                    <a:pt x="165" y="7902"/>
                  </a:lnTo>
                  <a:lnTo>
                    <a:pt x="183" y="7918"/>
                  </a:lnTo>
                  <a:lnTo>
                    <a:pt x="202" y="7933"/>
                  </a:lnTo>
                  <a:lnTo>
                    <a:pt x="221" y="7947"/>
                  </a:lnTo>
                  <a:lnTo>
                    <a:pt x="242" y="7960"/>
                  </a:lnTo>
                  <a:lnTo>
                    <a:pt x="263" y="7972"/>
                  </a:lnTo>
                  <a:lnTo>
                    <a:pt x="285" y="7983"/>
                  </a:lnTo>
                  <a:lnTo>
                    <a:pt x="307" y="7994"/>
                  </a:lnTo>
                  <a:lnTo>
                    <a:pt x="330" y="8003"/>
                  </a:lnTo>
                  <a:lnTo>
                    <a:pt x="353" y="8011"/>
                  </a:lnTo>
                  <a:lnTo>
                    <a:pt x="377" y="8017"/>
                  </a:lnTo>
                  <a:lnTo>
                    <a:pt x="401" y="8023"/>
                  </a:lnTo>
                  <a:lnTo>
                    <a:pt x="426" y="8027"/>
                  </a:lnTo>
                  <a:lnTo>
                    <a:pt x="452" y="8030"/>
                  </a:lnTo>
                  <a:lnTo>
                    <a:pt x="477" y="8032"/>
                  </a:lnTo>
                  <a:lnTo>
                    <a:pt x="503" y="8033"/>
                  </a:lnTo>
                  <a:lnTo>
                    <a:pt x="11568" y="8033"/>
                  </a:lnTo>
                  <a:lnTo>
                    <a:pt x="11594" y="8032"/>
                  </a:lnTo>
                  <a:lnTo>
                    <a:pt x="11619" y="8030"/>
                  </a:lnTo>
                  <a:lnTo>
                    <a:pt x="11645" y="8027"/>
                  </a:lnTo>
                  <a:lnTo>
                    <a:pt x="11670" y="8023"/>
                  </a:lnTo>
                  <a:lnTo>
                    <a:pt x="11694" y="8017"/>
                  </a:lnTo>
                  <a:lnTo>
                    <a:pt x="11718" y="8011"/>
                  </a:lnTo>
                  <a:lnTo>
                    <a:pt x="11741" y="8003"/>
                  </a:lnTo>
                  <a:lnTo>
                    <a:pt x="11764" y="7994"/>
                  </a:lnTo>
                  <a:lnTo>
                    <a:pt x="11786" y="7983"/>
                  </a:lnTo>
                  <a:lnTo>
                    <a:pt x="11809" y="7972"/>
                  </a:lnTo>
                  <a:lnTo>
                    <a:pt x="11829" y="7960"/>
                  </a:lnTo>
                  <a:lnTo>
                    <a:pt x="11850" y="7947"/>
                  </a:lnTo>
                  <a:lnTo>
                    <a:pt x="11869" y="7933"/>
                  </a:lnTo>
                  <a:lnTo>
                    <a:pt x="11888" y="7918"/>
                  </a:lnTo>
                  <a:lnTo>
                    <a:pt x="11906" y="7902"/>
                  </a:lnTo>
                  <a:lnTo>
                    <a:pt x="11924" y="7886"/>
                  </a:lnTo>
                  <a:lnTo>
                    <a:pt x="11940" y="7868"/>
                  </a:lnTo>
                  <a:lnTo>
                    <a:pt x="11956" y="7850"/>
                  </a:lnTo>
                  <a:lnTo>
                    <a:pt x="11972" y="7831"/>
                  </a:lnTo>
                  <a:lnTo>
                    <a:pt x="11986" y="7812"/>
                  </a:lnTo>
                  <a:lnTo>
                    <a:pt x="11999" y="7792"/>
                  </a:lnTo>
                  <a:lnTo>
                    <a:pt x="12011" y="7771"/>
                  </a:lnTo>
                  <a:lnTo>
                    <a:pt x="12022" y="7749"/>
                  </a:lnTo>
                  <a:lnTo>
                    <a:pt x="12032" y="7726"/>
                  </a:lnTo>
                  <a:lnTo>
                    <a:pt x="12041" y="7703"/>
                  </a:lnTo>
                  <a:lnTo>
                    <a:pt x="12049" y="7680"/>
                  </a:lnTo>
                  <a:lnTo>
                    <a:pt x="12055" y="7656"/>
                  </a:lnTo>
                  <a:lnTo>
                    <a:pt x="12061" y="7632"/>
                  </a:lnTo>
                  <a:lnTo>
                    <a:pt x="12065" y="7607"/>
                  </a:lnTo>
                  <a:lnTo>
                    <a:pt x="12068" y="7582"/>
                  </a:lnTo>
                  <a:lnTo>
                    <a:pt x="12070" y="7557"/>
                  </a:lnTo>
                  <a:lnTo>
                    <a:pt x="12071" y="7531"/>
                  </a:lnTo>
                  <a:lnTo>
                    <a:pt x="12071" y="502"/>
                  </a:lnTo>
                  <a:lnTo>
                    <a:pt x="12070" y="476"/>
                  </a:lnTo>
                  <a:lnTo>
                    <a:pt x="12068" y="451"/>
                  </a:lnTo>
                  <a:lnTo>
                    <a:pt x="12065" y="426"/>
                  </a:lnTo>
                  <a:lnTo>
                    <a:pt x="12061" y="401"/>
                  </a:lnTo>
                  <a:lnTo>
                    <a:pt x="12055" y="377"/>
                  </a:lnTo>
                  <a:lnTo>
                    <a:pt x="12049" y="353"/>
                  </a:lnTo>
                  <a:lnTo>
                    <a:pt x="12041" y="329"/>
                  </a:lnTo>
                  <a:lnTo>
                    <a:pt x="12032" y="306"/>
                  </a:lnTo>
                  <a:lnTo>
                    <a:pt x="12022" y="284"/>
                  </a:lnTo>
                  <a:lnTo>
                    <a:pt x="12011" y="263"/>
                  </a:lnTo>
                  <a:lnTo>
                    <a:pt x="11999" y="242"/>
                  </a:lnTo>
                  <a:lnTo>
                    <a:pt x="11986" y="221"/>
                  </a:lnTo>
                  <a:lnTo>
                    <a:pt x="11972" y="202"/>
                  </a:lnTo>
                  <a:lnTo>
                    <a:pt x="11956" y="183"/>
                  </a:lnTo>
                  <a:lnTo>
                    <a:pt x="11940" y="165"/>
                  </a:lnTo>
                  <a:lnTo>
                    <a:pt x="11924" y="147"/>
                  </a:lnTo>
                  <a:lnTo>
                    <a:pt x="11906" y="131"/>
                  </a:lnTo>
                  <a:lnTo>
                    <a:pt x="11888" y="115"/>
                  </a:lnTo>
                  <a:lnTo>
                    <a:pt x="11869" y="100"/>
                  </a:lnTo>
                  <a:lnTo>
                    <a:pt x="11850" y="85"/>
                  </a:lnTo>
                  <a:lnTo>
                    <a:pt x="11829" y="72"/>
                  </a:lnTo>
                  <a:lnTo>
                    <a:pt x="11809" y="60"/>
                  </a:lnTo>
                  <a:lnTo>
                    <a:pt x="11786" y="49"/>
                  </a:lnTo>
                  <a:lnTo>
                    <a:pt x="11764" y="39"/>
                  </a:lnTo>
                  <a:lnTo>
                    <a:pt x="11741" y="30"/>
                  </a:lnTo>
                  <a:lnTo>
                    <a:pt x="11718" y="22"/>
                  </a:lnTo>
                  <a:lnTo>
                    <a:pt x="11694" y="16"/>
                  </a:lnTo>
                  <a:lnTo>
                    <a:pt x="11670" y="10"/>
                  </a:lnTo>
                  <a:lnTo>
                    <a:pt x="11645" y="6"/>
                  </a:lnTo>
                  <a:lnTo>
                    <a:pt x="11619" y="3"/>
                  </a:lnTo>
                  <a:lnTo>
                    <a:pt x="11594" y="1"/>
                  </a:lnTo>
                  <a:lnTo>
                    <a:pt x="115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id-ID"/>
            </a:p>
          </p:txBody>
        </p:sp>
        <p:sp>
          <p:nvSpPr>
            <p:cNvPr id="107" name="Freeform 92"/>
            <p:cNvSpPr>
              <a:spLocks noEditPoints="1"/>
            </p:cNvSpPr>
            <p:nvPr>
              <p:custDataLst>
                <p:tags r:id="rId26"/>
              </p:custDataLst>
            </p:nvPr>
          </p:nvSpPr>
          <p:spPr bwMode="auto">
            <a:xfrm>
              <a:off x="6964363" y="2108200"/>
              <a:ext cx="690562" cy="646113"/>
            </a:xfrm>
            <a:custGeom>
              <a:avLst/>
              <a:gdLst>
                <a:gd name="T0" fmla="*/ 15066 w 16095"/>
                <a:gd name="T1" fmla="*/ 11696 h 15059"/>
                <a:gd name="T2" fmla="*/ 14988 w 16095"/>
                <a:gd name="T3" fmla="*/ 11847 h 15059"/>
                <a:gd name="T4" fmla="*/ 14867 w 16095"/>
                <a:gd name="T5" fmla="*/ 11963 h 15059"/>
                <a:gd name="T6" fmla="*/ 14712 w 16095"/>
                <a:gd name="T7" fmla="*/ 12033 h 15059"/>
                <a:gd name="T8" fmla="*/ 6036 w 16095"/>
                <a:gd name="T9" fmla="*/ 12049 h 15059"/>
                <a:gd name="T10" fmla="*/ 1359 w 16095"/>
                <a:gd name="T11" fmla="*/ 12027 h 15059"/>
                <a:gd name="T12" fmla="*/ 1208 w 16095"/>
                <a:gd name="T13" fmla="*/ 11949 h 15059"/>
                <a:gd name="T14" fmla="*/ 1091 w 16095"/>
                <a:gd name="T15" fmla="*/ 11828 h 15059"/>
                <a:gd name="T16" fmla="*/ 1022 w 16095"/>
                <a:gd name="T17" fmla="*/ 11672 h 15059"/>
                <a:gd name="T18" fmla="*/ 1007 w 16095"/>
                <a:gd name="T19" fmla="*/ 1480 h 15059"/>
                <a:gd name="T20" fmla="*/ 1045 w 16095"/>
                <a:gd name="T21" fmla="*/ 1310 h 15059"/>
                <a:gd name="T22" fmla="*/ 1137 w 16095"/>
                <a:gd name="T23" fmla="*/ 1169 h 15059"/>
                <a:gd name="T24" fmla="*/ 1268 w 16095"/>
                <a:gd name="T25" fmla="*/ 1064 h 15059"/>
                <a:gd name="T26" fmla="*/ 1432 w 16095"/>
                <a:gd name="T27" fmla="*/ 1010 h 15059"/>
                <a:gd name="T28" fmla="*/ 14663 w 16095"/>
                <a:gd name="T29" fmla="*/ 1010 h 15059"/>
                <a:gd name="T30" fmla="*/ 14826 w 16095"/>
                <a:gd name="T31" fmla="*/ 1064 h 15059"/>
                <a:gd name="T32" fmla="*/ 14958 w 16095"/>
                <a:gd name="T33" fmla="*/ 1169 h 15059"/>
                <a:gd name="T34" fmla="*/ 15050 w 16095"/>
                <a:gd name="T35" fmla="*/ 1310 h 15059"/>
                <a:gd name="T36" fmla="*/ 15088 w 16095"/>
                <a:gd name="T37" fmla="*/ 1480 h 15059"/>
                <a:gd name="T38" fmla="*/ 1279 w 16095"/>
                <a:gd name="T39" fmla="*/ 17 h 15059"/>
                <a:gd name="T40" fmla="*/ 790 w 16095"/>
                <a:gd name="T41" fmla="*/ 182 h 15059"/>
                <a:gd name="T42" fmla="*/ 391 w 16095"/>
                <a:gd name="T43" fmla="*/ 493 h 15059"/>
                <a:gd name="T44" fmla="*/ 119 w 16095"/>
                <a:gd name="T45" fmla="*/ 920 h 15059"/>
                <a:gd name="T46" fmla="*/ 2 w 16095"/>
                <a:gd name="T47" fmla="*/ 1429 h 15059"/>
                <a:gd name="T48" fmla="*/ 47 w 16095"/>
                <a:gd name="T49" fmla="*/ 11922 h 15059"/>
                <a:gd name="T50" fmla="*/ 257 w 16095"/>
                <a:gd name="T51" fmla="*/ 12387 h 15059"/>
                <a:gd name="T52" fmla="*/ 604 w 16095"/>
                <a:gd name="T53" fmla="*/ 12752 h 15059"/>
                <a:gd name="T54" fmla="*/ 1056 w 16095"/>
                <a:gd name="T55" fmla="*/ 12984 h 15059"/>
                <a:gd name="T56" fmla="*/ 6539 w 16095"/>
                <a:gd name="T57" fmla="*/ 13053 h 15059"/>
                <a:gd name="T58" fmla="*/ 3299 w 16095"/>
                <a:gd name="T59" fmla="*/ 14106 h 15059"/>
                <a:gd name="T60" fmla="*/ 3180 w 16095"/>
                <a:gd name="T61" fmla="*/ 14188 h 15059"/>
                <a:gd name="T62" fmla="*/ 3089 w 16095"/>
                <a:gd name="T63" fmla="*/ 14299 h 15059"/>
                <a:gd name="T64" fmla="*/ 3034 w 16095"/>
                <a:gd name="T65" fmla="*/ 14431 h 15059"/>
                <a:gd name="T66" fmla="*/ 3019 w 16095"/>
                <a:gd name="T67" fmla="*/ 14583 h 15059"/>
                <a:gd name="T68" fmla="*/ 3057 w 16095"/>
                <a:gd name="T69" fmla="*/ 14753 h 15059"/>
                <a:gd name="T70" fmla="*/ 3149 w 16095"/>
                <a:gd name="T71" fmla="*/ 14894 h 15059"/>
                <a:gd name="T72" fmla="*/ 3280 w 16095"/>
                <a:gd name="T73" fmla="*/ 14999 h 15059"/>
                <a:gd name="T74" fmla="*/ 3444 w 16095"/>
                <a:gd name="T75" fmla="*/ 15053 h 15059"/>
                <a:gd name="T76" fmla="*/ 12651 w 16095"/>
                <a:gd name="T77" fmla="*/ 15053 h 15059"/>
                <a:gd name="T78" fmla="*/ 12814 w 16095"/>
                <a:gd name="T79" fmla="*/ 14999 h 15059"/>
                <a:gd name="T80" fmla="*/ 12946 w 16095"/>
                <a:gd name="T81" fmla="*/ 14894 h 15059"/>
                <a:gd name="T82" fmla="*/ 13038 w 16095"/>
                <a:gd name="T83" fmla="*/ 14753 h 15059"/>
                <a:gd name="T84" fmla="*/ 13076 w 16095"/>
                <a:gd name="T85" fmla="*/ 14583 h 15059"/>
                <a:gd name="T86" fmla="*/ 13061 w 16095"/>
                <a:gd name="T87" fmla="*/ 14431 h 15059"/>
                <a:gd name="T88" fmla="*/ 13006 w 16095"/>
                <a:gd name="T89" fmla="*/ 14299 h 15059"/>
                <a:gd name="T90" fmla="*/ 12915 w 16095"/>
                <a:gd name="T91" fmla="*/ 14188 h 15059"/>
                <a:gd name="T92" fmla="*/ 12796 w 16095"/>
                <a:gd name="T93" fmla="*/ 14106 h 15059"/>
                <a:gd name="T94" fmla="*/ 9556 w 16095"/>
                <a:gd name="T95" fmla="*/ 13053 h 15059"/>
                <a:gd name="T96" fmla="*/ 15039 w 16095"/>
                <a:gd name="T97" fmla="*/ 12984 h 15059"/>
                <a:gd name="T98" fmla="*/ 15491 w 16095"/>
                <a:gd name="T99" fmla="*/ 12752 h 15059"/>
                <a:gd name="T100" fmla="*/ 15838 w 16095"/>
                <a:gd name="T101" fmla="*/ 12387 h 15059"/>
                <a:gd name="T102" fmla="*/ 16048 w 16095"/>
                <a:gd name="T103" fmla="*/ 11922 h 15059"/>
                <a:gd name="T104" fmla="*/ 16093 w 16095"/>
                <a:gd name="T105" fmla="*/ 1429 h 15059"/>
                <a:gd name="T106" fmla="*/ 15976 w 16095"/>
                <a:gd name="T107" fmla="*/ 920 h 15059"/>
                <a:gd name="T108" fmla="*/ 15703 w 16095"/>
                <a:gd name="T109" fmla="*/ 493 h 15059"/>
                <a:gd name="T110" fmla="*/ 15305 w 16095"/>
                <a:gd name="T111" fmla="*/ 182 h 15059"/>
                <a:gd name="T112" fmla="*/ 14815 w 16095"/>
                <a:gd name="T113" fmla="*/ 17 h 15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5059">
                  <a:moveTo>
                    <a:pt x="15089" y="11547"/>
                  </a:moveTo>
                  <a:lnTo>
                    <a:pt x="15088" y="11573"/>
                  </a:lnTo>
                  <a:lnTo>
                    <a:pt x="15086" y="11598"/>
                  </a:lnTo>
                  <a:lnTo>
                    <a:pt x="15083" y="11623"/>
                  </a:lnTo>
                  <a:lnTo>
                    <a:pt x="15079" y="11648"/>
                  </a:lnTo>
                  <a:lnTo>
                    <a:pt x="15073" y="11672"/>
                  </a:lnTo>
                  <a:lnTo>
                    <a:pt x="15066" y="11696"/>
                  </a:lnTo>
                  <a:lnTo>
                    <a:pt x="15059" y="11719"/>
                  </a:lnTo>
                  <a:lnTo>
                    <a:pt x="15050" y="11743"/>
                  </a:lnTo>
                  <a:lnTo>
                    <a:pt x="15040" y="11765"/>
                  </a:lnTo>
                  <a:lnTo>
                    <a:pt x="15029" y="11786"/>
                  </a:lnTo>
                  <a:lnTo>
                    <a:pt x="15016" y="11807"/>
                  </a:lnTo>
                  <a:lnTo>
                    <a:pt x="15003" y="11828"/>
                  </a:lnTo>
                  <a:lnTo>
                    <a:pt x="14988" y="11847"/>
                  </a:lnTo>
                  <a:lnTo>
                    <a:pt x="14974" y="11866"/>
                  </a:lnTo>
                  <a:lnTo>
                    <a:pt x="14958" y="11884"/>
                  </a:lnTo>
                  <a:lnTo>
                    <a:pt x="14941" y="11902"/>
                  </a:lnTo>
                  <a:lnTo>
                    <a:pt x="14924" y="11918"/>
                  </a:lnTo>
                  <a:lnTo>
                    <a:pt x="14906" y="11934"/>
                  </a:lnTo>
                  <a:lnTo>
                    <a:pt x="14887" y="11949"/>
                  </a:lnTo>
                  <a:lnTo>
                    <a:pt x="14867" y="11963"/>
                  </a:lnTo>
                  <a:lnTo>
                    <a:pt x="14847" y="11977"/>
                  </a:lnTo>
                  <a:lnTo>
                    <a:pt x="14826" y="11989"/>
                  </a:lnTo>
                  <a:lnTo>
                    <a:pt x="14803" y="12000"/>
                  </a:lnTo>
                  <a:lnTo>
                    <a:pt x="14781" y="12010"/>
                  </a:lnTo>
                  <a:lnTo>
                    <a:pt x="14759" y="12019"/>
                  </a:lnTo>
                  <a:lnTo>
                    <a:pt x="14735" y="12027"/>
                  </a:lnTo>
                  <a:lnTo>
                    <a:pt x="14712" y="12033"/>
                  </a:lnTo>
                  <a:lnTo>
                    <a:pt x="14687" y="12039"/>
                  </a:lnTo>
                  <a:lnTo>
                    <a:pt x="14663" y="12043"/>
                  </a:lnTo>
                  <a:lnTo>
                    <a:pt x="14637" y="12047"/>
                  </a:lnTo>
                  <a:lnTo>
                    <a:pt x="14612" y="12048"/>
                  </a:lnTo>
                  <a:lnTo>
                    <a:pt x="14586" y="12049"/>
                  </a:lnTo>
                  <a:lnTo>
                    <a:pt x="10059" y="12049"/>
                  </a:lnTo>
                  <a:lnTo>
                    <a:pt x="6036" y="12049"/>
                  </a:lnTo>
                  <a:lnTo>
                    <a:pt x="1509" y="12049"/>
                  </a:lnTo>
                  <a:lnTo>
                    <a:pt x="1483" y="12048"/>
                  </a:lnTo>
                  <a:lnTo>
                    <a:pt x="1458" y="12047"/>
                  </a:lnTo>
                  <a:lnTo>
                    <a:pt x="1432" y="12043"/>
                  </a:lnTo>
                  <a:lnTo>
                    <a:pt x="1407" y="12039"/>
                  </a:lnTo>
                  <a:lnTo>
                    <a:pt x="1383" y="12033"/>
                  </a:lnTo>
                  <a:lnTo>
                    <a:pt x="1359" y="12027"/>
                  </a:lnTo>
                  <a:lnTo>
                    <a:pt x="1336" y="12019"/>
                  </a:lnTo>
                  <a:lnTo>
                    <a:pt x="1313" y="12010"/>
                  </a:lnTo>
                  <a:lnTo>
                    <a:pt x="1291" y="12000"/>
                  </a:lnTo>
                  <a:lnTo>
                    <a:pt x="1268" y="11989"/>
                  </a:lnTo>
                  <a:lnTo>
                    <a:pt x="1248" y="11977"/>
                  </a:lnTo>
                  <a:lnTo>
                    <a:pt x="1227" y="11963"/>
                  </a:lnTo>
                  <a:lnTo>
                    <a:pt x="1208" y="11949"/>
                  </a:lnTo>
                  <a:lnTo>
                    <a:pt x="1189" y="11934"/>
                  </a:lnTo>
                  <a:lnTo>
                    <a:pt x="1171" y="11918"/>
                  </a:lnTo>
                  <a:lnTo>
                    <a:pt x="1153" y="11902"/>
                  </a:lnTo>
                  <a:lnTo>
                    <a:pt x="1137" y="11884"/>
                  </a:lnTo>
                  <a:lnTo>
                    <a:pt x="1121" y="11866"/>
                  </a:lnTo>
                  <a:lnTo>
                    <a:pt x="1106" y="11847"/>
                  </a:lnTo>
                  <a:lnTo>
                    <a:pt x="1091" y="11828"/>
                  </a:lnTo>
                  <a:lnTo>
                    <a:pt x="1078" y="11807"/>
                  </a:lnTo>
                  <a:lnTo>
                    <a:pt x="1066" y="11786"/>
                  </a:lnTo>
                  <a:lnTo>
                    <a:pt x="1055" y="11765"/>
                  </a:lnTo>
                  <a:lnTo>
                    <a:pt x="1045" y="11743"/>
                  </a:lnTo>
                  <a:lnTo>
                    <a:pt x="1036" y="11719"/>
                  </a:lnTo>
                  <a:lnTo>
                    <a:pt x="1028" y="11696"/>
                  </a:lnTo>
                  <a:lnTo>
                    <a:pt x="1022" y="11672"/>
                  </a:lnTo>
                  <a:lnTo>
                    <a:pt x="1016" y="11648"/>
                  </a:lnTo>
                  <a:lnTo>
                    <a:pt x="1012" y="11623"/>
                  </a:lnTo>
                  <a:lnTo>
                    <a:pt x="1009" y="11598"/>
                  </a:lnTo>
                  <a:lnTo>
                    <a:pt x="1007" y="11573"/>
                  </a:lnTo>
                  <a:lnTo>
                    <a:pt x="1006" y="11547"/>
                  </a:lnTo>
                  <a:lnTo>
                    <a:pt x="1006" y="1506"/>
                  </a:lnTo>
                  <a:lnTo>
                    <a:pt x="1007" y="1480"/>
                  </a:lnTo>
                  <a:lnTo>
                    <a:pt x="1009" y="1455"/>
                  </a:lnTo>
                  <a:lnTo>
                    <a:pt x="1012" y="1430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6"/>
                  </a:lnTo>
                  <a:lnTo>
                    <a:pt x="1036" y="1333"/>
                  </a:lnTo>
                  <a:lnTo>
                    <a:pt x="1045" y="1310"/>
                  </a:lnTo>
                  <a:lnTo>
                    <a:pt x="1055" y="1288"/>
                  </a:lnTo>
                  <a:lnTo>
                    <a:pt x="1066" y="1267"/>
                  </a:lnTo>
                  <a:lnTo>
                    <a:pt x="1078" y="1246"/>
                  </a:lnTo>
                  <a:lnTo>
                    <a:pt x="1091" y="1225"/>
                  </a:lnTo>
                  <a:lnTo>
                    <a:pt x="1106" y="1206"/>
                  </a:lnTo>
                  <a:lnTo>
                    <a:pt x="1121" y="1187"/>
                  </a:lnTo>
                  <a:lnTo>
                    <a:pt x="1137" y="1169"/>
                  </a:lnTo>
                  <a:lnTo>
                    <a:pt x="1153" y="1151"/>
                  </a:lnTo>
                  <a:lnTo>
                    <a:pt x="1171" y="1135"/>
                  </a:lnTo>
                  <a:lnTo>
                    <a:pt x="1189" y="1119"/>
                  </a:lnTo>
                  <a:lnTo>
                    <a:pt x="1208" y="1103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4"/>
                  </a:lnTo>
                  <a:lnTo>
                    <a:pt x="1291" y="1053"/>
                  </a:lnTo>
                  <a:lnTo>
                    <a:pt x="1313" y="1043"/>
                  </a:lnTo>
                  <a:lnTo>
                    <a:pt x="1336" y="1034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4"/>
                  </a:lnTo>
                  <a:lnTo>
                    <a:pt x="1432" y="1010"/>
                  </a:lnTo>
                  <a:lnTo>
                    <a:pt x="1458" y="1007"/>
                  </a:lnTo>
                  <a:lnTo>
                    <a:pt x="1483" y="1005"/>
                  </a:lnTo>
                  <a:lnTo>
                    <a:pt x="1509" y="1004"/>
                  </a:lnTo>
                  <a:lnTo>
                    <a:pt x="14586" y="1004"/>
                  </a:lnTo>
                  <a:lnTo>
                    <a:pt x="14612" y="1005"/>
                  </a:lnTo>
                  <a:lnTo>
                    <a:pt x="14637" y="1007"/>
                  </a:lnTo>
                  <a:lnTo>
                    <a:pt x="14663" y="1010"/>
                  </a:lnTo>
                  <a:lnTo>
                    <a:pt x="14687" y="1014"/>
                  </a:lnTo>
                  <a:lnTo>
                    <a:pt x="14712" y="1020"/>
                  </a:lnTo>
                  <a:lnTo>
                    <a:pt x="14735" y="1027"/>
                  </a:lnTo>
                  <a:lnTo>
                    <a:pt x="14759" y="1034"/>
                  </a:lnTo>
                  <a:lnTo>
                    <a:pt x="14781" y="1043"/>
                  </a:lnTo>
                  <a:lnTo>
                    <a:pt x="14803" y="1053"/>
                  </a:lnTo>
                  <a:lnTo>
                    <a:pt x="14826" y="1064"/>
                  </a:lnTo>
                  <a:lnTo>
                    <a:pt x="14847" y="1077"/>
                  </a:lnTo>
                  <a:lnTo>
                    <a:pt x="14867" y="1090"/>
                  </a:lnTo>
                  <a:lnTo>
                    <a:pt x="14887" y="1103"/>
                  </a:lnTo>
                  <a:lnTo>
                    <a:pt x="14906" y="1119"/>
                  </a:lnTo>
                  <a:lnTo>
                    <a:pt x="14924" y="1135"/>
                  </a:lnTo>
                  <a:lnTo>
                    <a:pt x="14941" y="1151"/>
                  </a:lnTo>
                  <a:lnTo>
                    <a:pt x="14958" y="1169"/>
                  </a:lnTo>
                  <a:lnTo>
                    <a:pt x="14974" y="1187"/>
                  </a:lnTo>
                  <a:lnTo>
                    <a:pt x="14988" y="1206"/>
                  </a:lnTo>
                  <a:lnTo>
                    <a:pt x="15003" y="1225"/>
                  </a:lnTo>
                  <a:lnTo>
                    <a:pt x="15016" y="1246"/>
                  </a:lnTo>
                  <a:lnTo>
                    <a:pt x="15029" y="1267"/>
                  </a:lnTo>
                  <a:lnTo>
                    <a:pt x="15040" y="1288"/>
                  </a:lnTo>
                  <a:lnTo>
                    <a:pt x="15050" y="1310"/>
                  </a:lnTo>
                  <a:lnTo>
                    <a:pt x="15059" y="1333"/>
                  </a:lnTo>
                  <a:lnTo>
                    <a:pt x="15066" y="1356"/>
                  </a:lnTo>
                  <a:lnTo>
                    <a:pt x="15073" y="1381"/>
                  </a:lnTo>
                  <a:lnTo>
                    <a:pt x="15079" y="1405"/>
                  </a:lnTo>
                  <a:lnTo>
                    <a:pt x="15083" y="1430"/>
                  </a:lnTo>
                  <a:lnTo>
                    <a:pt x="15086" y="1455"/>
                  </a:lnTo>
                  <a:lnTo>
                    <a:pt x="15088" y="1480"/>
                  </a:lnTo>
                  <a:lnTo>
                    <a:pt x="15089" y="1506"/>
                  </a:lnTo>
                  <a:lnTo>
                    <a:pt x="15089" y="11547"/>
                  </a:lnTo>
                  <a:close/>
                  <a:moveTo>
                    <a:pt x="14586" y="0"/>
                  </a:moveTo>
                  <a:lnTo>
                    <a:pt x="1509" y="0"/>
                  </a:lnTo>
                  <a:lnTo>
                    <a:pt x="1431" y="2"/>
                  </a:lnTo>
                  <a:lnTo>
                    <a:pt x="1354" y="8"/>
                  </a:lnTo>
                  <a:lnTo>
                    <a:pt x="1279" y="17"/>
                  </a:lnTo>
                  <a:lnTo>
                    <a:pt x="1204" y="30"/>
                  </a:lnTo>
                  <a:lnTo>
                    <a:pt x="1132" y="47"/>
                  </a:lnTo>
                  <a:lnTo>
                    <a:pt x="1060" y="67"/>
                  </a:lnTo>
                  <a:lnTo>
                    <a:pt x="990" y="91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90" y="182"/>
                  </a:lnTo>
                  <a:lnTo>
                    <a:pt x="726" y="218"/>
                  </a:lnTo>
                  <a:lnTo>
                    <a:pt x="665" y="257"/>
                  </a:lnTo>
                  <a:lnTo>
                    <a:pt x="606" y="299"/>
                  </a:lnTo>
                  <a:lnTo>
                    <a:pt x="549" y="344"/>
                  </a:lnTo>
                  <a:lnTo>
                    <a:pt x="494" y="392"/>
                  </a:lnTo>
                  <a:lnTo>
                    <a:pt x="442" y="441"/>
                  </a:lnTo>
                  <a:lnTo>
                    <a:pt x="391" y="493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8" y="664"/>
                  </a:lnTo>
                  <a:lnTo>
                    <a:pt x="218" y="725"/>
                  </a:lnTo>
                  <a:lnTo>
                    <a:pt x="182" y="788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8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3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9"/>
                  </a:lnTo>
                  <a:lnTo>
                    <a:pt x="0" y="1506"/>
                  </a:lnTo>
                  <a:lnTo>
                    <a:pt x="0" y="11547"/>
                  </a:lnTo>
                  <a:lnTo>
                    <a:pt x="2" y="11624"/>
                  </a:lnTo>
                  <a:lnTo>
                    <a:pt x="8" y="11700"/>
                  </a:lnTo>
                  <a:lnTo>
                    <a:pt x="17" y="11776"/>
                  </a:lnTo>
                  <a:lnTo>
                    <a:pt x="30" y="11850"/>
                  </a:lnTo>
                  <a:lnTo>
                    <a:pt x="47" y="11922"/>
                  </a:lnTo>
                  <a:lnTo>
                    <a:pt x="67" y="11994"/>
                  </a:lnTo>
                  <a:lnTo>
                    <a:pt x="92" y="12064"/>
                  </a:lnTo>
                  <a:lnTo>
                    <a:pt x="118" y="12132"/>
                  </a:lnTo>
                  <a:lnTo>
                    <a:pt x="148" y="12198"/>
                  </a:lnTo>
                  <a:lnTo>
                    <a:pt x="181" y="12264"/>
                  </a:lnTo>
                  <a:lnTo>
                    <a:pt x="217" y="12326"/>
                  </a:lnTo>
                  <a:lnTo>
                    <a:pt x="257" y="12387"/>
                  </a:lnTo>
                  <a:lnTo>
                    <a:pt x="299" y="12446"/>
                  </a:lnTo>
                  <a:lnTo>
                    <a:pt x="343" y="12504"/>
                  </a:lnTo>
                  <a:lnTo>
                    <a:pt x="390" y="12558"/>
                  </a:lnTo>
                  <a:lnTo>
                    <a:pt x="441" y="12610"/>
                  </a:lnTo>
                  <a:lnTo>
                    <a:pt x="493" y="12660"/>
                  </a:lnTo>
                  <a:lnTo>
                    <a:pt x="547" y="12707"/>
                  </a:lnTo>
                  <a:lnTo>
                    <a:pt x="604" y="12752"/>
                  </a:lnTo>
                  <a:lnTo>
                    <a:pt x="663" y="12794"/>
                  </a:lnTo>
                  <a:lnTo>
                    <a:pt x="724" y="12833"/>
                  </a:lnTo>
                  <a:lnTo>
                    <a:pt x="787" y="12869"/>
                  </a:lnTo>
                  <a:lnTo>
                    <a:pt x="852" y="12902"/>
                  </a:lnTo>
                  <a:lnTo>
                    <a:pt x="918" y="12933"/>
                  </a:lnTo>
                  <a:lnTo>
                    <a:pt x="987" y="12959"/>
                  </a:lnTo>
                  <a:lnTo>
                    <a:pt x="1056" y="12984"/>
                  </a:lnTo>
                  <a:lnTo>
                    <a:pt x="1128" y="13004"/>
                  </a:lnTo>
                  <a:lnTo>
                    <a:pt x="1201" y="13021"/>
                  </a:lnTo>
                  <a:lnTo>
                    <a:pt x="1275" y="13035"/>
                  </a:lnTo>
                  <a:lnTo>
                    <a:pt x="1350" y="13044"/>
                  </a:lnTo>
                  <a:lnTo>
                    <a:pt x="1426" y="13050"/>
                  </a:lnTo>
                  <a:lnTo>
                    <a:pt x="1504" y="13053"/>
                  </a:lnTo>
                  <a:lnTo>
                    <a:pt x="6539" y="13053"/>
                  </a:lnTo>
                  <a:lnTo>
                    <a:pt x="6539" y="13663"/>
                  </a:lnTo>
                  <a:lnTo>
                    <a:pt x="3399" y="14070"/>
                  </a:lnTo>
                  <a:lnTo>
                    <a:pt x="3378" y="14076"/>
                  </a:lnTo>
                  <a:lnTo>
                    <a:pt x="3358" y="14082"/>
                  </a:lnTo>
                  <a:lnTo>
                    <a:pt x="3338" y="14090"/>
                  </a:lnTo>
                  <a:lnTo>
                    <a:pt x="3319" y="14098"/>
                  </a:lnTo>
                  <a:lnTo>
                    <a:pt x="3299" y="14106"/>
                  </a:lnTo>
                  <a:lnTo>
                    <a:pt x="3280" y="14116"/>
                  </a:lnTo>
                  <a:lnTo>
                    <a:pt x="3262" y="14126"/>
                  </a:lnTo>
                  <a:lnTo>
                    <a:pt x="3245" y="14137"/>
                  </a:lnTo>
                  <a:lnTo>
                    <a:pt x="3228" y="14149"/>
                  </a:lnTo>
                  <a:lnTo>
                    <a:pt x="3211" y="14161"/>
                  </a:lnTo>
                  <a:lnTo>
                    <a:pt x="3196" y="14174"/>
                  </a:lnTo>
                  <a:lnTo>
                    <a:pt x="3180" y="14188"/>
                  </a:lnTo>
                  <a:lnTo>
                    <a:pt x="3166" y="14203"/>
                  </a:lnTo>
                  <a:lnTo>
                    <a:pt x="3151" y="14217"/>
                  </a:lnTo>
                  <a:lnTo>
                    <a:pt x="3138" y="14233"/>
                  </a:lnTo>
                  <a:lnTo>
                    <a:pt x="3124" y="14249"/>
                  </a:lnTo>
                  <a:lnTo>
                    <a:pt x="3112" y="14265"/>
                  </a:lnTo>
                  <a:lnTo>
                    <a:pt x="3100" y="14282"/>
                  </a:lnTo>
                  <a:lnTo>
                    <a:pt x="3089" y="14299"/>
                  </a:lnTo>
                  <a:lnTo>
                    <a:pt x="3079" y="14316"/>
                  </a:lnTo>
                  <a:lnTo>
                    <a:pt x="3070" y="14335"/>
                  </a:lnTo>
                  <a:lnTo>
                    <a:pt x="3061" y="14353"/>
                  </a:lnTo>
                  <a:lnTo>
                    <a:pt x="3053" y="14372"/>
                  </a:lnTo>
                  <a:lnTo>
                    <a:pt x="3046" y="14391"/>
                  </a:lnTo>
                  <a:lnTo>
                    <a:pt x="3039" y="14411"/>
                  </a:lnTo>
                  <a:lnTo>
                    <a:pt x="3034" y="14431"/>
                  </a:lnTo>
                  <a:lnTo>
                    <a:pt x="3029" y="14452"/>
                  </a:lnTo>
                  <a:lnTo>
                    <a:pt x="3025" y="14473"/>
                  </a:lnTo>
                  <a:lnTo>
                    <a:pt x="3022" y="14493"/>
                  </a:lnTo>
                  <a:lnTo>
                    <a:pt x="3020" y="14514"/>
                  </a:lnTo>
                  <a:lnTo>
                    <a:pt x="3018" y="14536"/>
                  </a:lnTo>
                  <a:lnTo>
                    <a:pt x="3018" y="14557"/>
                  </a:lnTo>
                  <a:lnTo>
                    <a:pt x="3019" y="14583"/>
                  </a:lnTo>
                  <a:lnTo>
                    <a:pt x="3020" y="14608"/>
                  </a:lnTo>
                  <a:lnTo>
                    <a:pt x="3024" y="14633"/>
                  </a:lnTo>
                  <a:lnTo>
                    <a:pt x="3028" y="14658"/>
                  </a:lnTo>
                  <a:lnTo>
                    <a:pt x="3034" y="14682"/>
                  </a:lnTo>
                  <a:lnTo>
                    <a:pt x="3040" y="14707"/>
                  </a:lnTo>
                  <a:lnTo>
                    <a:pt x="3048" y="14730"/>
                  </a:lnTo>
                  <a:lnTo>
                    <a:pt x="3057" y="14753"/>
                  </a:lnTo>
                  <a:lnTo>
                    <a:pt x="3067" y="14775"/>
                  </a:lnTo>
                  <a:lnTo>
                    <a:pt x="3078" y="14797"/>
                  </a:lnTo>
                  <a:lnTo>
                    <a:pt x="3090" y="14818"/>
                  </a:lnTo>
                  <a:lnTo>
                    <a:pt x="3103" y="14838"/>
                  </a:lnTo>
                  <a:lnTo>
                    <a:pt x="3117" y="14857"/>
                  </a:lnTo>
                  <a:lnTo>
                    <a:pt x="3132" y="14876"/>
                  </a:lnTo>
                  <a:lnTo>
                    <a:pt x="3149" y="14894"/>
                  </a:lnTo>
                  <a:lnTo>
                    <a:pt x="3165" y="14912"/>
                  </a:lnTo>
                  <a:lnTo>
                    <a:pt x="3183" y="14928"/>
                  </a:lnTo>
                  <a:lnTo>
                    <a:pt x="3201" y="14945"/>
                  </a:lnTo>
                  <a:lnTo>
                    <a:pt x="3220" y="14960"/>
                  </a:lnTo>
                  <a:lnTo>
                    <a:pt x="3239" y="14974"/>
                  </a:lnTo>
                  <a:lnTo>
                    <a:pt x="3260" y="14987"/>
                  </a:lnTo>
                  <a:lnTo>
                    <a:pt x="3280" y="14999"/>
                  </a:lnTo>
                  <a:lnTo>
                    <a:pt x="3302" y="15010"/>
                  </a:lnTo>
                  <a:lnTo>
                    <a:pt x="3325" y="15020"/>
                  </a:lnTo>
                  <a:lnTo>
                    <a:pt x="3348" y="15029"/>
                  </a:lnTo>
                  <a:lnTo>
                    <a:pt x="3371" y="15037"/>
                  </a:lnTo>
                  <a:lnTo>
                    <a:pt x="3395" y="15043"/>
                  </a:lnTo>
                  <a:lnTo>
                    <a:pt x="3419" y="15049"/>
                  </a:lnTo>
                  <a:lnTo>
                    <a:pt x="3444" y="15053"/>
                  </a:lnTo>
                  <a:lnTo>
                    <a:pt x="3469" y="15056"/>
                  </a:lnTo>
                  <a:lnTo>
                    <a:pt x="3495" y="15058"/>
                  </a:lnTo>
                  <a:lnTo>
                    <a:pt x="3521" y="15059"/>
                  </a:lnTo>
                  <a:lnTo>
                    <a:pt x="12574" y="15059"/>
                  </a:lnTo>
                  <a:lnTo>
                    <a:pt x="12600" y="15058"/>
                  </a:lnTo>
                  <a:lnTo>
                    <a:pt x="12626" y="15056"/>
                  </a:lnTo>
                  <a:lnTo>
                    <a:pt x="12651" y="15053"/>
                  </a:lnTo>
                  <a:lnTo>
                    <a:pt x="12676" y="15049"/>
                  </a:lnTo>
                  <a:lnTo>
                    <a:pt x="12700" y="15043"/>
                  </a:lnTo>
                  <a:lnTo>
                    <a:pt x="12724" y="15037"/>
                  </a:lnTo>
                  <a:lnTo>
                    <a:pt x="12747" y="15029"/>
                  </a:lnTo>
                  <a:lnTo>
                    <a:pt x="12770" y="15020"/>
                  </a:lnTo>
                  <a:lnTo>
                    <a:pt x="12793" y="15010"/>
                  </a:lnTo>
                  <a:lnTo>
                    <a:pt x="12814" y="14999"/>
                  </a:lnTo>
                  <a:lnTo>
                    <a:pt x="12835" y="14987"/>
                  </a:lnTo>
                  <a:lnTo>
                    <a:pt x="12856" y="14974"/>
                  </a:lnTo>
                  <a:lnTo>
                    <a:pt x="12875" y="14960"/>
                  </a:lnTo>
                  <a:lnTo>
                    <a:pt x="12894" y="14945"/>
                  </a:lnTo>
                  <a:lnTo>
                    <a:pt x="12912" y="14928"/>
                  </a:lnTo>
                  <a:lnTo>
                    <a:pt x="12930" y="14912"/>
                  </a:lnTo>
                  <a:lnTo>
                    <a:pt x="12946" y="14894"/>
                  </a:lnTo>
                  <a:lnTo>
                    <a:pt x="12963" y="14876"/>
                  </a:lnTo>
                  <a:lnTo>
                    <a:pt x="12978" y="14857"/>
                  </a:lnTo>
                  <a:lnTo>
                    <a:pt x="12992" y="14838"/>
                  </a:lnTo>
                  <a:lnTo>
                    <a:pt x="13005" y="14818"/>
                  </a:lnTo>
                  <a:lnTo>
                    <a:pt x="13017" y="14797"/>
                  </a:lnTo>
                  <a:lnTo>
                    <a:pt x="13028" y="14775"/>
                  </a:lnTo>
                  <a:lnTo>
                    <a:pt x="13038" y="14753"/>
                  </a:lnTo>
                  <a:lnTo>
                    <a:pt x="13047" y="14730"/>
                  </a:lnTo>
                  <a:lnTo>
                    <a:pt x="13055" y="14707"/>
                  </a:lnTo>
                  <a:lnTo>
                    <a:pt x="13061" y="14682"/>
                  </a:lnTo>
                  <a:lnTo>
                    <a:pt x="13067" y="14658"/>
                  </a:lnTo>
                  <a:lnTo>
                    <a:pt x="13071" y="14633"/>
                  </a:lnTo>
                  <a:lnTo>
                    <a:pt x="13074" y="14608"/>
                  </a:lnTo>
                  <a:lnTo>
                    <a:pt x="13076" y="14583"/>
                  </a:lnTo>
                  <a:lnTo>
                    <a:pt x="13077" y="14557"/>
                  </a:lnTo>
                  <a:lnTo>
                    <a:pt x="13077" y="14536"/>
                  </a:lnTo>
                  <a:lnTo>
                    <a:pt x="13075" y="14514"/>
                  </a:lnTo>
                  <a:lnTo>
                    <a:pt x="13073" y="14493"/>
                  </a:lnTo>
                  <a:lnTo>
                    <a:pt x="13070" y="14473"/>
                  </a:lnTo>
                  <a:lnTo>
                    <a:pt x="13066" y="14452"/>
                  </a:lnTo>
                  <a:lnTo>
                    <a:pt x="13061" y="14431"/>
                  </a:lnTo>
                  <a:lnTo>
                    <a:pt x="13056" y="14411"/>
                  </a:lnTo>
                  <a:lnTo>
                    <a:pt x="13049" y="14391"/>
                  </a:lnTo>
                  <a:lnTo>
                    <a:pt x="13042" y="14372"/>
                  </a:lnTo>
                  <a:lnTo>
                    <a:pt x="13034" y="14353"/>
                  </a:lnTo>
                  <a:lnTo>
                    <a:pt x="13025" y="14335"/>
                  </a:lnTo>
                  <a:lnTo>
                    <a:pt x="13016" y="14316"/>
                  </a:lnTo>
                  <a:lnTo>
                    <a:pt x="13006" y="14299"/>
                  </a:lnTo>
                  <a:lnTo>
                    <a:pt x="12995" y="14282"/>
                  </a:lnTo>
                  <a:lnTo>
                    <a:pt x="12983" y="14265"/>
                  </a:lnTo>
                  <a:lnTo>
                    <a:pt x="12971" y="14249"/>
                  </a:lnTo>
                  <a:lnTo>
                    <a:pt x="12957" y="14233"/>
                  </a:lnTo>
                  <a:lnTo>
                    <a:pt x="12944" y="14217"/>
                  </a:lnTo>
                  <a:lnTo>
                    <a:pt x="12930" y="14203"/>
                  </a:lnTo>
                  <a:lnTo>
                    <a:pt x="12915" y="14188"/>
                  </a:lnTo>
                  <a:lnTo>
                    <a:pt x="12900" y="14174"/>
                  </a:lnTo>
                  <a:lnTo>
                    <a:pt x="12884" y="14161"/>
                  </a:lnTo>
                  <a:lnTo>
                    <a:pt x="12867" y="14149"/>
                  </a:lnTo>
                  <a:lnTo>
                    <a:pt x="12850" y="14137"/>
                  </a:lnTo>
                  <a:lnTo>
                    <a:pt x="12833" y="14126"/>
                  </a:lnTo>
                  <a:lnTo>
                    <a:pt x="12815" y="14116"/>
                  </a:lnTo>
                  <a:lnTo>
                    <a:pt x="12796" y="14106"/>
                  </a:lnTo>
                  <a:lnTo>
                    <a:pt x="12776" y="14098"/>
                  </a:lnTo>
                  <a:lnTo>
                    <a:pt x="12757" y="14090"/>
                  </a:lnTo>
                  <a:lnTo>
                    <a:pt x="12737" y="14082"/>
                  </a:lnTo>
                  <a:lnTo>
                    <a:pt x="12717" y="14076"/>
                  </a:lnTo>
                  <a:lnTo>
                    <a:pt x="12696" y="14070"/>
                  </a:lnTo>
                  <a:lnTo>
                    <a:pt x="9556" y="13663"/>
                  </a:lnTo>
                  <a:lnTo>
                    <a:pt x="9556" y="13053"/>
                  </a:lnTo>
                  <a:lnTo>
                    <a:pt x="14591" y="13053"/>
                  </a:lnTo>
                  <a:lnTo>
                    <a:pt x="14669" y="13050"/>
                  </a:lnTo>
                  <a:lnTo>
                    <a:pt x="14745" y="13044"/>
                  </a:lnTo>
                  <a:lnTo>
                    <a:pt x="14820" y="13035"/>
                  </a:lnTo>
                  <a:lnTo>
                    <a:pt x="14894" y="13021"/>
                  </a:lnTo>
                  <a:lnTo>
                    <a:pt x="14967" y="13004"/>
                  </a:lnTo>
                  <a:lnTo>
                    <a:pt x="15039" y="12984"/>
                  </a:lnTo>
                  <a:lnTo>
                    <a:pt x="15108" y="12959"/>
                  </a:lnTo>
                  <a:lnTo>
                    <a:pt x="15177" y="12933"/>
                  </a:lnTo>
                  <a:lnTo>
                    <a:pt x="15243" y="12902"/>
                  </a:lnTo>
                  <a:lnTo>
                    <a:pt x="15308" y="12869"/>
                  </a:lnTo>
                  <a:lnTo>
                    <a:pt x="15371" y="12833"/>
                  </a:lnTo>
                  <a:lnTo>
                    <a:pt x="15432" y="12794"/>
                  </a:lnTo>
                  <a:lnTo>
                    <a:pt x="15491" y="12752"/>
                  </a:lnTo>
                  <a:lnTo>
                    <a:pt x="15548" y="12707"/>
                  </a:lnTo>
                  <a:lnTo>
                    <a:pt x="15602" y="12660"/>
                  </a:lnTo>
                  <a:lnTo>
                    <a:pt x="15654" y="12610"/>
                  </a:lnTo>
                  <a:lnTo>
                    <a:pt x="15705" y="12558"/>
                  </a:lnTo>
                  <a:lnTo>
                    <a:pt x="15752" y="12504"/>
                  </a:lnTo>
                  <a:lnTo>
                    <a:pt x="15796" y="12446"/>
                  </a:lnTo>
                  <a:lnTo>
                    <a:pt x="15838" y="12387"/>
                  </a:lnTo>
                  <a:lnTo>
                    <a:pt x="15878" y="12326"/>
                  </a:lnTo>
                  <a:lnTo>
                    <a:pt x="15914" y="12264"/>
                  </a:lnTo>
                  <a:lnTo>
                    <a:pt x="15947" y="12198"/>
                  </a:lnTo>
                  <a:lnTo>
                    <a:pt x="15977" y="12132"/>
                  </a:lnTo>
                  <a:lnTo>
                    <a:pt x="16003" y="12064"/>
                  </a:lnTo>
                  <a:lnTo>
                    <a:pt x="16028" y="11994"/>
                  </a:lnTo>
                  <a:lnTo>
                    <a:pt x="16048" y="11922"/>
                  </a:lnTo>
                  <a:lnTo>
                    <a:pt x="16065" y="11850"/>
                  </a:lnTo>
                  <a:lnTo>
                    <a:pt x="16078" y="11776"/>
                  </a:lnTo>
                  <a:lnTo>
                    <a:pt x="16087" y="11700"/>
                  </a:lnTo>
                  <a:lnTo>
                    <a:pt x="16093" y="11624"/>
                  </a:lnTo>
                  <a:lnTo>
                    <a:pt x="16095" y="11547"/>
                  </a:lnTo>
                  <a:lnTo>
                    <a:pt x="16095" y="1506"/>
                  </a:lnTo>
                  <a:lnTo>
                    <a:pt x="16093" y="1429"/>
                  </a:lnTo>
                  <a:lnTo>
                    <a:pt x="16087" y="1352"/>
                  </a:lnTo>
                  <a:lnTo>
                    <a:pt x="16078" y="1277"/>
                  </a:lnTo>
                  <a:lnTo>
                    <a:pt x="16064" y="1203"/>
                  </a:lnTo>
                  <a:lnTo>
                    <a:pt x="16048" y="1130"/>
                  </a:lnTo>
                  <a:lnTo>
                    <a:pt x="16028" y="1058"/>
                  </a:lnTo>
                  <a:lnTo>
                    <a:pt x="16003" y="988"/>
                  </a:lnTo>
                  <a:lnTo>
                    <a:pt x="15976" y="920"/>
                  </a:lnTo>
                  <a:lnTo>
                    <a:pt x="15946" y="853"/>
                  </a:lnTo>
                  <a:lnTo>
                    <a:pt x="15913" y="788"/>
                  </a:lnTo>
                  <a:lnTo>
                    <a:pt x="15877" y="725"/>
                  </a:lnTo>
                  <a:lnTo>
                    <a:pt x="15837" y="664"/>
                  </a:lnTo>
                  <a:lnTo>
                    <a:pt x="15795" y="605"/>
                  </a:lnTo>
                  <a:lnTo>
                    <a:pt x="15750" y="548"/>
                  </a:lnTo>
                  <a:lnTo>
                    <a:pt x="15703" y="493"/>
                  </a:lnTo>
                  <a:lnTo>
                    <a:pt x="15652" y="441"/>
                  </a:lnTo>
                  <a:lnTo>
                    <a:pt x="15600" y="392"/>
                  </a:lnTo>
                  <a:lnTo>
                    <a:pt x="15546" y="344"/>
                  </a:lnTo>
                  <a:lnTo>
                    <a:pt x="15488" y="299"/>
                  </a:lnTo>
                  <a:lnTo>
                    <a:pt x="15429" y="257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8"/>
                  </a:lnTo>
                  <a:lnTo>
                    <a:pt x="15105" y="91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id-ID"/>
            </a:p>
          </p:txBody>
        </p:sp>
      </p:grpSp>
      <p:sp>
        <p:nvSpPr>
          <p:cNvPr id="63" name="Oval 62"/>
          <p:cNvSpPr/>
          <p:nvPr>
            <p:custDataLst>
              <p:tags r:id="rId27"/>
            </p:custDataLst>
          </p:nvPr>
        </p:nvSpPr>
        <p:spPr>
          <a:xfrm>
            <a:off x="5720715" y="3131034"/>
            <a:ext cx="736265" cy="736265"/>
          </a:xfrm>
          <a:prstGeom prst="ellipse">
            <a:avLst/>
          </a:prstGeom>
          <a:ln>
            <a:noFill/>
          </a:ln>
        </p:spPr>
        <p:style>
          <a:lnRef idx="2">
            <a:srgbClr val="1F74AD">
              <a:shade val="50000"/>
            </a:srgbClr>
          </a:lnRef>
          <a:fillRef idx="1">
            <a:srgbClr val="1F74AD"/>
          </a:fillRef>
          <a:effectRef idx="0">
            <a:srgbClr val="1F74AD"/>
          </a:effectRef>
          <a:fontRef idx="minor">
            <a:sysClr val="window" lastClr="FFFFFF"/>
          </a:fontRef>
        </p:style>
        <p:txBody>
          <a:bodyPr rtlCol="0" anchor="ctr"/>
          <a:p>
            <a:pPr algn="ctr"/>
            <a:endParaRPr lang="id-ID"/>
          </a:p>
        </p:txBody>
      </p:sp>
      <p:sp>
        <p:nvSpPr>
          <p:cNvPr id="108" name="Freeform 96"/>
          <p:cNvSpPr>
            <a:spLocks noEditPoints="1"/>
          </p:cNvSpPr>
          <p:nvPr>
            <p:custDataLst>
              <p:tags r:id="rId28"/>
            </p:custDataLst>
          </p:nvPr>
        </p:nvSpPr>
        <p:spPr bwMode="auto">
          <a:xfrm>
            <a:off x="5902078" y="3332405"/>
            <a:ext cx="369270" cy="368421"/>
          </a:xfrm>
          <a:custGeom>
            <a:avLst/>
            <a:gdLst>
              <a:gd name="T0" fmla="*/ 13537 w 16094"/>
              <a:gd name="T1" fmla="*/ 6059 h 16058"/>
              <a:gd name="T2" fmla="*/ 13105 w 16094"/>
              <a:gd name="T3" fmla="*/ 4843 h 16058"/>
              <a:gd name="T4" fmla="*/ 12309 w 16094"/>
              <a:gd name="T5" fmla="*/ 3778 h 16058"/>
              <a:gd name="T6" fmla="*/ 11103 w 16094"/>
              <a:gd name="T7" fmla="*/ 2914 h 16058"/>
              <a:gd name="T8" fmla="*/ 9730 w 16094"/>
              <a:gd name="T9" fmla="*/ 2510 h 16058"/>
              <a:gd name="T10" fmla="*/ 10548 w 16094"/>
              <a:gd name="T11" fmla="*/ 1344 h 16058"/>
              <a:gd name="T12" fmla="*/ 11273 w 16094"/>
              <a:gd name="T13" fmla="*/ 1058 h 16058"/>
              <a:gd name="T14" fmla="*/ 12175 w 16094"/>
              <a:gd name="T15" fmla="*/ 1030 h 16058"/>
              <a:gd name="T16" fmla="*/ 13215 w 16094"/>
              <a:gd name="T17" fmla="*/ 1370 h 16058"/>
              <a:gd name="T18" fmla="*/ 14130 w 16094"/>
              <a:gd name="T19" fmla="*/ 2061 h 16058"/>
              <a:gd name="T20" fmla="*/ 14752 w 16094"/>
              <a:gd name="T21" fmla="*/ 2927 h 16058"/>
              <a:gd name="T22" fmla="*/ 15061 w 16094"/>
              <a:gd name="T23" fmla="*/ 3885 h 16058"/>
              <a:gd name="T24" fmla="*/ 15035 w 16094"/>
              <a:gd name="T25" fmla="*/ 4794 h 16058"/>
              <a:gd name="T26" fmla="*/ 14704 w 16094"/>
              <a:gd name="T27" fmla="*/ 5577 h 16058"/>
              <a:gd name="T28" fmla="*/ 4429 w 16094"/>
              <a:gd name="T29" fmla="*/ 13990 h 16058"/>
              <a:gd name="T30" fmla="*/ 4128 w 16094"/>
              <a:gd name="T31" fmla="*/ 13119 h 16058"/>
              <a:gd name="T32" fmla="*/ 3522 w 16094"/>
              <a:gd name="T33" fmla="*/ 12349 h 16058"/>
              <a:gd name="T34" fmla="*/ 2735 w 16094"/>
              <a:gd name="T35" fmla="*/ 11832 h 16058"/>
              <a:gd name="T36" fmla="*/ 1857 w 16094"/>
              <a:gd name="T37" fmla="*/ 11600 h 16058"/>
              <a:gd name="T38" fmla="*/ 2349 w 16094"/>
              <a:gd name="T39" fmla="*/ 9539 h 16058"/>
              <a:gd name="T40" fmla="*/ 3383 w 16094"/>
              <a:gd name="T41" fmla="*/ 9051 h 16058"/>
              <a:gd name="T42" fmla="*/ 5065 w 16094"/>
              <a:gd name="T43" fmla="*/ 9305 h 16058"/>
              <a:gd name="T44" fmla="*/ 6529 w 16094"/>
              <a:gd name="T45" fmla="*/ 10574 h 16058"/>
              <a:gd name="T46" fmla="*/ 7057 w 16094"/>
              <a:gd name="T47" fmla="*/ 12341 h 16058"/>
              <a:gd name="T48" fmla="*/ 6481 w 16094"/>
              <a:gd name="T49" fmla="*/ 13816 h 16058"/>
              <a:gd name="T50" fmla="*/ 1899 w 16094"/>
              <a:gd name="T51" fmla="*/ 15034 h 16058"/>
              <a:gd name="T52" fmla="*/ 1430 w 16094"/>
              <a:gd name="T53" fmla="*/ 14978 h 16058"/>
              <a:gd name="T54" fmla="*/ 1080 w 16094"/>
              <a:gd name="T55" fmla="*/ 14626 h 16058"/>
              <a:gd name="T56" fmla="*/ 1037 w 16094"/>
              <a:gd name="T57" fmla="*/ 14110 h 16058"/>
              <a:gd name="T58" fmla="*/ 2133 w 16094"/>
              <a:gd name="T59" fmla="*/ 12161 h 16058"/>
              <a:gd name="T60" fmla="*/ 2879 w 16094"/>
              <a:gd name="T61" fmla="*/ 12483 h 16058"/>
              <a:gd name="T62" fmla="*/ 3517 w 16094"/>
              <a:gd name="T63" fmla="*/ 13089 h 16058"/>
              <a:gd name="T64" fmla="*/ 3887 w 16094"/>
              <a:gd name="T65" fmla="*/ 13837 h 16058"/>
              <a:gd name="T66" fmla="*/ 5275 w 16094"/>
              <a:gd name="T67" fmla="*/ 8311 h 16058"/>
              <a:gd name="T68" fmla="*/ 4471 w 16094"/>
              <a:gd name="T69" fmla="*/ 8075 h 16058"/>
              <a:gd name="T70" fmla="*/ 3832 w 16094"/>
              <a:gd name="T71" fmla="*/ 8011 h 16058"/>
              <a:gd name="T72" fmla="*/ 8544 w 16094"/>
              <a:gd name="T73" fmla="*/ 3613 h 16058"/>
              <a:gd name="T74" fmla="*/ 9615 w 16094"/>
              <a:gd name="T75" fmla="*/ 3512 h 16058"/>
              <a:gd name="T76" fmla="*/ 7177 w 16094"/>
              <a:gd name="T77" fmla="*/ 9768 h 16058"/>
              <a:gd name="T78" fmla="*/ 6475 w 16094"/>
              <a:gd name="T79" fmla="*/ 9029 h 16058"/>
              <a:gd name="T80" fmla="*/ 10683 w 16094"/>
              <a:gd name="T81" fmla="*/ 3831 h 16058"/>
              <a:gd name="T82" fmla="*/ 11597 w 16094"/>
              <a:gd name="T83" fmla="*/ 4487 h 16058"/>
              <a:gd name="T84" fmla="*/ 12178 w 16094"/>
              <a:gd name="T85" fmla="*/ 5258 h 16058"/>
              <a:gd name="T86" fmla="*/ 7882 w 16094"/>
              <a:gd name="T87" fmla="*/ 11105 h 16058"/>
              <a:gd name="T88" fmla="*/ 12576 w 16094"/>
              <a:gd name="T89" fmla="*/ 6482 h 16058"/>
              <a:gd name="T90" fmla="*/ 12439 w 16094"/>
              <a:gd name="T91" fmla="*/ 7635 h 16058"/>
              <a:gd name="T92" fmla="*/ 11948 w 16094"/>
              <a:gd name="T93" fmla="*/ 8406 h 16058"/>
              <a:gd name="T94" fmla="*/ 14463 w 16094"/>
              <a:gd name="T95" fmla="*/ 1003 h 16058"/>
              <a:gd name="T96" fmla="*/ 13190 w 16094"/>
              <a:gd name="T97" fmla="*/ 260 h 16058"/>
              <a:gd name="T98" fmla="*/ 11795 w 16094"/>
              <a:gd name="T99" fmla="*/ 0 h 16058"/>
              <a:gd name="T100" fmla="*/ 10660 w 16094"/>
              <a:gd name="T101" fmla="*/ 187 h 16058"/>
              <a:gd name="T102" fmla="*/ 9684 w 16094"/>
              <a:gd name="T103" fmla="*/ 727 h 16058"/>
              <a:gd name="T104" fmla="*/ 1704 w 16094"/>
              <a:gd name="T105" fmla="*/ 8728 h 16058"/>
              <a:gd name="T106" fmla="*/ 1279 w 16094"/>
              <a:gd name="T107" fmla="*/ 9454 h 16058"/>
              <a:gd name="T108" fmla="*/ 0 w 16094"/>
              <a:gd name="T109" fmla="*/ 14302 h 16058"/>
              <a:gd name="T110" fmla="*/ 402 w 16094"/>
              <a:gd name="T111" fmla="*/ 15419 h 16058"/>
              <a:gd name="T112" fmla="*/ 1407 w 16094"/>
              <a:gd name="T113" fmla="*/ 16022 h 16058"/>
              <a:gd name="T114" fmla="*/ 2275 w 16094"/>
              <a:gd name="T115" fmla="*/ 15980 h 16058"/>
              <a:gd name="T116" fmla="*/ 7227 w 16094"/>
              <a:gd name="T117" fmla="*/ 14541 h 16058"/>
              <a:gd name="T118" fmla="*/ 15901 w 16094"/>
              <a:gd name="T119" fmla="*/ 5421 h 16058"/>
              <a:gd name="T120" fmla="*/ 15857 w 16094"/>
              <a:gd name="T121" fmla="*/ 2953 h 160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094" h="16058">
                <a:moveTo>
                  <a:pt x="14431" y="5907"/>
                </a:moveTo>
                <a:lnTo>
                  <a:pt x="13584" y="6759"/>
                </a:lnTo>
                <a:lnTo>
                  <a:pt x="13585" y="6717"/>
                </a:lnTo>
                <a:lnTo>
                  <a:pt x="13586" y="6675"/>
                </a:lnTo>
                <a:lnTo>
                  <a:pt x="13588" y="6633"/>
                </a:lnTo>
                <a:lnTo>
                  <a:pt x="13590" y="6591"/>
                </a:lnTo>
                <a:lnTo>
                  <a:pt x="13591" y="6549"/>
                </a:lnTo>
                <a:lnTo>
                  <a:pt x="13591" y="6507"/>
                </a:lnTo>
                <a:lnTo>
                  <a:pt x="13590" y="6464"/>
                </a:lnTo>
                <a:lnTo>
                  <a:pt x="13587" y="6420"/>
                </a:lnTo>
                <a:lnTo>
                  <a:pt x="13578" y="6330"/>
                </a:lnTo>
                <a:lnTo>
                  <a:pt x="13566" y="6240"/>
                </a:lnTo>
                <a:lnTo>
                  <a:pt x="13553" y="6148"/>
                </a:lnTo>
                <a:lnTo>
                  <a:pt x="13537" y="6059"/>
                </a:lnTo>
                <a:lnTo>
                  <a:pt x="13520" y="5969"/>
                </a:lnTo>
                <a:lnTo>
                  <a:pt x="13500" y="5879"/>
                </a:lnTo>
                <a:lnTo>
                  <a:pt x="13478" y="5790"/>
                </a:lnTo>
                <a:lnTo>
                  <a:pt x="13453" y="5702"/>
                </a:lnTo>
                <a:lnTo>
                  <a:pt x="13427" y="5613"/>
                </a:lnTo>
                <a:lnTo>
                  <a:pt x="13400" y="5525"/>
                </a:lnTo>
                <a:lnTo>
                  <a:pt x="13370" y="5439"/>
                </a:lnTo>
                <a:lnTo>
                  <a:pt x="13338" y="5351"/>
                </a:lnTo>
                <a:lnTo>
                  <a:pt x="13305" y="5265"/>
                </a:lnTo>
                <a:lnTo>
                  <a:pt x="13268" y="5180"/>
                </a:lnTo>
                <a:lnTo>
                  <a:pt x="13230" y="5094"/>
                </a:lnTo>
                <a:lnTo>
                  <a:pt x="13191" y="5010"/>
                </a:lnTo>
                <a:lnTo>
                  <a:pt x="13150" y="4927"/>
                </a:lnTo>
                <a:lnTo>
                  <a:pt x="13105" y="4843"/>
                </a:lnTo>
                <a:lnTo>
                  <a:pt x="13060" y="4761"/>
                </a:lnTo>
                <a:lnTo>
                  <a:pt x="13014" y="4680"/>
                </a:lnTo>
                <a:lnTo>
                  <a:pt x="12965" y="4600"/>
                </a:lnTo>
                <a:lnTo>
                  <a:pt x="12913" y="4520"/>
                </a:lnTo>
                <a:lnTo>
                  <a:pt x="12861" y="4441"/>
                </a:lnTo>
                <a:lnTo>
                  <a:pt x="12807" y="4364"/>
                </a:lnTo>
                <a:lnTo>
                  <a:pt x="12750" y="4286"/>
                </a:lnTo>
                <a:lnTo>
                  <a:pt x="12692" y="4210"/>
                </a:lnTo>
                <a:lnTo>
                  <a:pt x="12633" y="4136"/>
                </a:lnTo>
                <a:lnTo>
                  <a:pt x="12571" y="4062"/>
                </a:lnTo>
                <a:lnTo>
                  <a:pt x="12508" y="3989"/>
                </a:lnTo>
                <a:lnTo>
                  <a:pt x="12443" y="3917"/>
                </a:lnTo>
                <a:lnTo>
                  <a:pt x="12376" y="3847"/>
                </a:lnTo>
                <a:lnTo>
                  <a:pt x="12309" y="3778"/>
                </a:lnTo>
                <a:lnTo>
                  <a:pt x="12230" y="3701"/>
                </a:lnTo>
                <a:lnTo>
                  <a:pt x="12152" y="3628"/>
                </a:lnTo>
                <a:lnTo>
                  <a:pt x="12071" y="3557"/>
                </a:lnTo>
                <a:lnTo>
                  <a:pt x="11989" y="3487"/>
                </a:lnTo>
                <a:lnTo>
                  <a:pt x="11905" y="3419"/>
                </a:lnTo>
                <a:lnTo>
                  <a:pt x="11821" y="3354"/>
                </a:lnTo>
                <a:lnTo>
                  <a:pt x="11735" y="3292"/>
                </a:lnTo>
                <a:lnTo>
                  <a:pt x="11648" y="3231"/>
                </a:lnTo>
                <a:lnTo>
                  <a:pt x="11560" y="3172"/>
                </a:lnTo>
                <a:lnTo>
                  <a:pt x="11471" y="3116"/>
                </a:lnTo>
                <a:lnTo>
                  <a:pt x="11380" y="3062"/>
                </a:lnTo>
                <a:lnTo>
                  <a:pt x="11289" y="3010"/>
                </a:lnTo>
                <a:lnTo>
                  <a:pt x="11196" y="2961"/>
                </a:lnTo>
                <a:lnTo>
                  <a:pt x="11103" y="2914"/>
                </a:lnTo>
                <a:lnTo>
                  <a:pt x="11009" y="2868"/>
                </a:lnTo>
                <a:lnTo>
                  <a:pt x="10913" y="2826"/>
                </a:lnTo>
                <a:lnTo>
                  <a:pt x="10818" y="2786"/>
                </a:lnTo>
                <a:lnTo>
                  <a:pt x="10721" y="2749"/>
                </a:lnTo>
                <a:lnTo>
                  <a:pt x="10625" y="2714"/>
                </a:lnTo>
                <a:lnTo>
                  <a:pt x="10527" y="2681"/>
                </a:lnTo>
                <a:lnTo>
                  <a:pt x="10429" y="2651"/>
                </a:lnTo>
                <a:lnTo>
                  <a:pt x="10330" y="2622"/>
                </a:lnTo>
                <a:lnTo>
                  <a:pt x="10231" y="2597"/>
                </a:lnTo>
                <a:lnTo>
                  <a:pt x="10132" y="2574"/>
                </a:lnTo>
                <a:lnTo>
                  <a:pt x="10031" y="2554"/>
                </a:lnTo>
                <a:lnTo>
                  <a:pt x="9932" y="2537"/>
                </a:lnTo>
                <a:lnTo>
                  <a:pt x="9831" y="2522"/>
                </a:lnTo>
                <a:lnTo>
                  <a:pt x="9730" y="2510"/>
                </a:lnTo>
                <a:lnTo>
                  <a:pt x="9630" y="2500"/>
                </a:lnTo>
                <a:lnTo>
                  <a:pt x="9529" y="2493"/>
                </a:lnTo>
                <a:lnTo>
                  <a:pt x="9428" y="2489"/>
                </a:lnTo>
                <a:lnTo>
                  <a:pt x="9327" y="2487"/>
                </a:lnTo>
                <a:lnTo>
                  <a:pt x="10160" y="1649"/>
                </a:lnTo>
                <a:lnTo>
                  <a:pt x="10199" y="1611"/>
                </a:lnTo>
                <a:lnTo>
                  <a:pt x="10240" y="1574"/>
                </a:lnTo>
                <a:lnTo>
                  <a:pt x="10282" y="1538"/>
                </a:lnTo>
                <a:lnTo>
                  <a:pt x="10324" y="1502"/>
                </a:lnTo>
                <a:lnTo>
                  <a:pt x="10367" y="1468"/>
                </a:lnTo>
                <a:lnTo>
                  <a:pt x="10411" y="1435"/>
                </a:lnTo>
                <a:lnTo>
                  <a:pt x="10456" y="1404"/>
                </a:lnTo>
                <a:lnTo>
                  <a:pt x="10502" y="1373"/>
                </a:lnTo>
                <a:lnTo>
                  <a:pt x="10548" y="1344"/>
                </a:lnTo>
                <a:lnTo>
                  <a:pt x="10596" y="1316"/>
                </a:lnTo>
                <a:lnTo>
                  <a:pt x="10644" y="1289"/>
                </a:lnTo>
                <a:lnTo>
                  <a:pt x="10692" y="1263"/>
                </a:lnTo>
                <a:lnTo>
                  <a:pt x="10742" y="1237"/>
                </a:lnTo>
                <a:lnTo>
                  <a:pt x="10793" y="1214"/>
                </a:lnTo>
                <a:lnTo>
                  <a:pt x="10843" y="1192"/>
                </a:lnTo>
                <a:lnTo>
                  <a:pt x="10894" y="1171"/>
                </a:lnTo>
                <a:lnTo>
                  <a:pt x="10947" y="1151"/>
                </a:lnTo>
                <a:lnTo>
                  <a:pt x="11000" y="1132"/>
                </a:lnTo>
                <a:lnTo>
                  <a:pt x="11053" y="1115"/>
                </a:lnTo>
                <a:lnTo>
                  <a:pt x="11108" y="1099"/>
                </a:lnTo>
                <a:lnTo>
                  <a:pt x="11162" y="1084"/>
                </a:lnTo>
                <a:lnTo>
                  <a:pt x="11217" y="1070"/>
                </a:lnTo>
                <a:lnTo>
                  <a:pt x="11273" y="1058"/>
                </a:lnTo>
                <a:lnTo>
                  <a:pt x="11329" y="1046"/>
                </a:lnTo>
                <a:lnTo>
                  <a:pt x="11386" y="1037"/>
                </a:lnTo>
                <a:lnTo>
                  <a:pt x="11444" y="1028"/>
                </a:lnTo>
                <a:lnTo>
                  <a:pt x="11501" y="1021"/>
                </a:lnTo>
                <a:lnTo>
                  <a:pt x="11559" y="1015"/>
                </a:lnTo>
                <a:lnTo>
                  <a:pt x="11618" y="1010"/>
                </a:lnTo>
                <a:lnTo>
                  <a:pt x="11676" y="1007"/>
                </a:lnTo>
                <a:lnTo>
                  <a:pt x="11735" y="1005"/>
                </a:lnTo>
                <a:lnTo>
                  <a:pt x="11795" y="1004"/>
                </a:lnTo>
                <a:lnTo>
                  <a:pt x="11871" y="1005"/>
                </a:lnTo>
                <a:lnTo>
                  <a:pt x="11947" y="1008"/>
                </a:lnTo>
                <a:lnTo>
                  <a:pt x="12023" y="1014"/>
                </a:lnTo>
                <a:lnTo>
                  <a:pt x="12098" y="1021"/>
                </a:lnTo>
                <a:lnTo>
                  <a:pt x="12175" y="1030"/>
                </a:lnTo>
                <a:lnTo>
                  <a:pt x="12251" y="1042"/>
                </a:lnTo>
                <a:lnTo>
                  <a:pt x="12327" y="1055"/>
                </a:lnTo>
                <a:lnTo>
                  <a:pt x="12402" y="1071"/>
                </a:lnTo>
                <a:lnTo>
                  <a:pt x="12478" y="1088"/>
                </a:lnTo>
                <a:lnTo>
                  <a:pt x="12553" y="1108"/>
                </a:lnTo>
                <a:lnTo>
                  <a:pt x="12629" y="1129"/>
                </a:lnTo>
                <a:lnTo>
                  <a:pt x="12703" y="1153"/>
                </a:lnTo>
                <a:lnTo>
                  <a:pt x="12777" y="1178"/>
                </a:lnTo>
                <a:lnTo>
                  <a:pt x="12852" y="1205"/>
                </a:lnTo>
                <a:lnTo>
                  <a:pt x="12925" y="1234"/>
                </a:lnTo>
                <a:lnTo>
                  <a:pt x="12999" y="1266"/>
                </a:lnTo>
                <a:lnTo>
                  <a:pt x="13071" y="1299"/>
                </a:lnTo>
                <a:lnTo>
                  <a:pt x="13144" y="1334"/>
                </a:lnTo>
                <a:lnTo>
                  <a:pt x="13215" y="1370"/>
                </a:lnTo>
                <a:lnTo>
                  <a:pt x="13285" y="1408"/>
                </a:lnTo>
                <a:lnTo>
                  <a:pt x="13356" y="1448"/>
                </a:lnTo>
                <a:lnTo>
                  <a:pt x="13425" y="1490"/>
                </a:lnTo>
                <a:lnTo>
                  <a:pt x="13495" y="1535"/>
                </a:lnTo>
                <a:lnTo>
                  <a:pt x="13562" y="1580"/>
                </a:lnTo>
                <a:lnTo>
                  <a:pt x="13629" y="1627"/>
                </a:lnTo>
                <a:lnTo>
                  <a:pt x="13696" y="1676"/>
                </a:lnTo>
                <a:lnTo>
                  <a:pt x="13761" y="1727"/>
                </a:lnTo>
                <a:lnTo>
                  <a:pt x="13827" y="1779"/>
                </a:lnTo>
                <a:lnTo>
                  <a:pt x="13890" y="1834"/>
                </a:lnTo>
                <a:lnTo>
                  <a:pt x="13952" y="1889"/>
                </a:lnTo>
                <a:lnTo>
                  <a:pt x="14014" y="1946"/>
                </a:lnTo>
                <a:lnTo>
                  <a:pt x="14075" y="2005"/>
                </a:lnTo>
                <a:lnTo>
                  <a:pt x="14130" y="2061"/>
                </a:lnTo>
                <a:lnTo>
                  <a:pt x="14185" y="2119"/>
                </a:lnTo>
                <a:lnTo>
                  <a:pt x="14237" y="2177"/>
                </a:lnTo>
                <a:lnTo>
                  <a:pt x="14288" y="2235"/>
                </a:lnTo>
                <a:lnTo>
                  <a:pt x="14338" y="2295"/>
                </a:lnTo>
                <a:lnTo>
                  <a:pt x="14386" y="2356"/>
                </a:lnTo>
                <a:lnTo>
                  <a:pt x="14433" y="2417"/>
                </a:lnTo>
                <a:lnTo>
                  <a:pt x="14478" y="2478"/>
                </a:lnTo>
                <a:lnTo>
                  <a:pt x="14522" y="2540"/>
                </a:lnTo>
                <a:lnTo>
                  <a:pt x="14564" y="2603"/>
                </a:lnTo>
                <a:lnTo>
                  <a:pt x="14605" y="2667"/>
                </a:lnTo>
                <a:lnTo>
                  <a:pt x="14644" y="2731"/>
                </a:lnTo>
                <a:lnTo>
                  <a:pt x="14682" y="2796"/>
                </a:lnTo>
                <a:lnTo>
                  <a:pt x="14718" y="2861"/>
                </a:lnTo>
                <a:lnTo>
                  <a:pt x="14752" y="2927"/>
                </a:lnTo>
                <a:lnTo>
                  <a:pt x="14785" y="2993"/>
                </a:lnTo>
                <a:lnTo>
                  <a:pt x="14816" y="3060"/>
                </a:lnTo>
                <a:lnTo>
                  <a:pt x="14846" y="3126"/>
                </a:lnTo>
                <a:lnTo>
                  <a:pt x="14874" y="3195"/>
                </a:lnTo>
                <a:lnTo>
                  <a:pt x="14900" y="3262"/>
                </a:lnTo>
                <a:lnTo>
                  <a:pt x="14925" y="3330"/>
                </a:lnTo>
                <a:lnTo>
                  <a:pt x="14948" y="3398"/>
                </a:lnTo>
                <a:lnTo>
                  <a:pt x="14969" y="3468"/>
                </a:lnTo>
                <a:lnTo>
                  <a:pt x="14988" y="3537"/>
                </a:lnTo>
                <a:lnTo>
                  <a:pt x="15007" y="3606"/>
                </a:lnTo>
                <a:lnTo>
                  <a:pt x="15023" y="3675"/>
                </a:lnTo>
                <a:lnTo>
                  <a:pt x="15038" y="3746"/>
                </a:lnTo>
                <a:lnTo>
                  <a:pt x="15050" y="3816"/>
                </a:lnTo>
                <a:lnTo>
                  <a:pt x="15061" y="3885"/>
                </a:lnTo>
                <a:lnTo>
                  <a:pt x="15070" y="3955"/>
                </a:lnTo>
                <a:lnTo>
                  <a:pt x="15078" y="4026"/>
                </a:lnTo>
                <a:lnTo>
                  <a:pt x="15084" y="4097"/>
                </a:lnTo>
                <a:lnTo>
                  <a:pt x="15087" y="4162"/>
                </a:lnTo>
                <a:lnTo>
                  <a:pt x="15089" y="4227"/>
                </a:lnTo>
                <a:lnTo>
                  <a:pt x="15089" y="4292"/>
                </a:lnTo>
                <a:lnTo>
                  <a:pt x="15088" y="4357"/>
                </a:lnTo>
                <a:lnTo>
                  <a:pt x="15085" y="4420"/>
                </a:lnTo>
                <a:lnTo>
                  <a:pt x="15081" y="4484"/>
                </a:lnTo>
                <a:lnTo>
                  <a:pt x="15075" y="4546"/>
                </a:lnTo>
                <a:lnTo>
                  <a:pt x="15067" y="4610"/>
                </a:lnTo>
                <a:lnTo>
                  <a:pt x="15058" y="4672"/>
                </a:lnTo>
                <a:lnTo>
                  <a:pt x="15048" y="4733"/>
                </a:lnTo>
                <a:lnTo>
                  <a:pt x="15035" y="4794"/>
                </a:lnTo>
                <a:lnTo>
                  <a:pt x="15022" y="4855"/>
                </a:lnTo>
                <a:lnTo>
                  <a:pt x="15006" y="4914"/>
                </a:lnTo>
                <a:lnTo>
                  <a:pt x="14989" y="4973"/>
                </a:lnTo>
                <a:lnTo>
                  <a:pt x="14970" y="5032"/>
                </a:lnTo>
                <a:lnTo>
                  <a:pt x="14950" y="5089"/>
                </a:lnTo>
                <a:lnTo>
                  <a:pt x="14929" y="5147"/>
                </a:lnTo>
                <a:lnTo>
                  <a:pt x="14906" y="5203"/>
                </a:lnTo>
                <a:lnTo>
                  <a:pt x="14882" y="5259"/>
                </a:lnTo>
                <a:lnTo>
                  <a:pt x="14856" y="5314"/>
                </a:lnTo>
                <a:lnTo>
                  <a:pt x="14829" y="5368"/>
                </a:lnTo>
                <a:lnTo>
                  <a:pt x="14799" y="5422"/>
                </a:lnTo>
                <a:lnTo>
                  <a:pt x="14769" y="5474"/>
                </a:lnTo>
                <a:lnTo>
                  <a:pt x="14737" y="5526"/>
                </a:lnTo>
                <a:lnTo>
                  <a:pt x="14704" y="5577"/>
                </a:lnTo>
                <a:lnTo>
                  <a:pt x="14670" y="5627"/>
                </a:lnTo>
                <a:lnTo>
                  <a:pt x="14633" y="5675"/>
                </a:lnTo>
                <a:lnTo>
                  <a:pt x="14595" y="5724"/>
                </a:lnTo>
                <a:lnTo>
                  <a:pt x="14557" y="5772"/>
                </a:lnTo>
                <a:lnTo>
                  <a:pt x="14516" y="5818"/>
                </a:lnTo>
                <a:lnTo>
                  <a:pt x="14474" y="5863"/>
                </a:lnTo>
                <a:lnTo>
                  <a:pt x="14431" y="5907"/>
                </a:lnTo>
                <a:close/>
                <a:moveTo>
                  <a:pt x="4463" y="14370"/>
                </a:moveTo>
                <a:lnTo>
                  <a:pt x="4461" y="14307"/>
                </a:lnTo>
                <a:lnTo>
                  <a:pt x="4458" y="14243"/>
                </a:lnTo>
                <a:lnTo>
                  <a:pt x="4453" y="14180"/>
                </a:lnTo>
                <a:lnTo>
                  <a:pt x="4446" y="14117"/>
                </a:lnTo>
                <a:lnTo>
                  <a:pt x="4438" y="14053"/>
                </a:lnTo>
                <a:lnTo>
                  <a:pt x="4429" y="13990"/>
                </a:lnTo>
                <a:lnTo>
                  <a:pt x="4417" y="13926"/>
                </a:lnTo>
                <a:lnTo>
                  <a:pt x="4405" y="13863"/>
                </a:lnTo>
                <a:lnTo>
                  <a:pt x="4391" y="13800"/>
                </a:lnTo>
                <a:lnTo>
                  <a:pt x="4375" y="13737"/>
                </a:lnTo>
                <a:lnTo>
                  <a:pt x="4357" y="13673"/>
                </a:lnTo>
                <a:lnTo>
                  <a:pt x="4338" y="13610"/>
                </a:lnTo>
                <a:lnTo>
                  <a:pt x="4317" y="13548"/>
                </a:lnTo>
                <a:lnTo>
                  <a:pt x="4295" y="13486"/>
                </a:lnTo>
                <a:lnTo>
                  <a:pt x="4271" y="13423"/>
                </a:lnTo>
                <a:lnTo>
                  <a:pt x="4246" y="13362"/>
                </a:lnTo>
                <a:lnTo>
                  <a:pt x="4219" y="13300"/>
                </a:lnTo>
                <a:lnTo>
                  <a:pt x="4191" y="13240"/>
                </a:lnTo>
                <a:lnTo>
                  <a:pt x="4161" y="13179"/>
                </a:lnTo>
                <a:lnTo>
                  <a:pt x="4128" y="13119"/>
                </a:lnTo>
                <a:lnTo>
                  <a:pt x="4095" y="13059"/>
                </a:lnTo>
                <a:lnTo>
                  <a:pt x="4060" y="13000"/>
                </a:lnTo>
                <a:lnTo>
                  <a:pt x="4024" y="12942"/>
                </a:lnTo>
                <a:lnTo>
                  <a:pt x="3986" y="12884"/>
                </a:lnTo>
                <a:lnTo>
                  <a:pt x="3946" y="12826"/>
                </a:lnTo>
                <a:lnTo>
                  <a:pt x="3905" y="12769"/>
                </a:lnTo>
                <a:lnTo>
                  <a:pt x="3862" y="12714"/>
                </a:lnTo>
                <a:lnTo>
                  <a:pt x="3818" y="12658"/>
                </a:lnTo>
                <a:lnTo>
                  <a:pt x="3771" y="12604"/>
                </a:lnTo>
                <a:lnTo>
                  <a:pt x="3723" y="12549"/>
                </a:lnTo>
                <a:lnTo>
                  <a:pt x="3674" y="12497"/>
                </a:lnTo>
                <a:lnTo>
                  <a:pt x="3622" y="12445"/>
                </a:lnTo>
                <a:lnTo>
                  <a:pt x="3573" y="12396"/>
                </a:lnTo>
                <a:lnTo>
                  <a:pt x="3522" y="12349"/>
                </a:lnTo>
                <a:lnTo>
                  <a:pt x="3470" y="12303"/>
                </a:lnTo>
                <a:lnTo>
                  <a:pt x="3418" y="12258"/>
                </a:lnTo>
                <a:lnTo>
                  <a:pt x="3366" y="12215"/>
                </a:lnTo>
                <a:lnTo>
                  <a:pt x="3312" y="12174"/>
                </a:lnTo>
                <a:lnTo>
                  <a:pt x="3257" y="12133"/>
                </a:lnTo>
                <a:lnTo>
                  <a:pt x="3202" y="12094"/>
                </a:lnTo>
                <a:lnTo>
                  <a:pt x="3146" y="12057"/>
                </a:lnTo>
                <a:lnTo>
                  <a:pt x="3088" y="12020"/>
                </a:lnTo>
                <a:lnTo>
                  <a:pt x="3031" y="11985"/>
                </a:lnTo>
                <a:lnTo>
                  <a:pt x="2974" y="11952"/>
                </a:lnTo>
                <a:lnTo>
                  <a:pt x="2914" y="11920"/>
                </a:lnTo>
                <a:lnTo>
                  <a:pt x="2855" y="11889"/>
                </a:lnTo>
                <a:lnTo>
                  <a:pt x="2796" y="11860"/>
                </a:lnTo>
                <a:lnTo>
                  <a:pt x="2735" y="11832"/>
                </a:lnTo>
                <a:lnTo>
                  <a:pt x="2675" y="11806"/>
                </a:lnTo>
                <a:lnTo>
                  <a:pt x="2613" y="11781"/>
                </a:lnTo>
                <a:lnTo>
                  <a:pt x="2552" y="11757"/>
                </a:lnTo>
                <a:lnTo>
                  <a:pt x="2490" y="11735"/>
                </a:lnTo>
                <a:lnTo>
                  <a:pt x="2427" y="11715"/>
                </a:lnTo>
                <a:lnTo>
                  <a:pt x="2365" y="11696"/>
                </a:lnTo>
                <a:lnTo>
                  <a:pt x="2303" y="11679"/>
                </a:lnTo>
                <a:lnTo>
                  <a:pt x="2239" y="11663"/>
                </a:lnTo>
                <a:lnTo>
                  <a:pt x="2176" y="11648"/>
                </a:lnTo>
                <a:lnTo>
                  <a:pt x="2112" y="11636"/>
                </a:lnTo>
                <a:lnTo>
                  <a:pt x="2048" y="11625"/>
                </a:lnTo>
                <a:lnTo>
                  <a:pt x="1985" y="11615"/>
                </a:lnTo>
                <a:lnTo>
                  <a:pt x="1920" y="11607"/>
                </a:lnTo>
                <a:lnTo>
                  <a:pt x="1857" y="11600"/>
                </a:lnTo>
                <a:lnTo>
                  <a:pt x="1793" y="11595"/>
                </a:lnTo>
                <a:lnTo>
                  <a:pt x="1728" y="11592"/>
                </a:lnTo>
                <a:lnTo>
                  <a:pt x="2229" y="9781"/>
                </a:lnTo>
                <a:lnTo>
                  <a:pt x="2236" y="9759"/>
                </a:lnTo>
                <a:lnTo>
                  <a:pt x="2244" y="9736"/>
                </a:lnTo>
                <a:lnTo>
                  <a:pt x="2253" y="9714"/>
                </a:lnTo>
                <a:lnTo>
                  <a:pt x="2263" y="9692"/>
                </a:lnTo>
                <a:lnTo>
                  <a:pt x="2273" y="9670"/>
                </a:lnTo>
                <a:lnTo>
                  <a:pt x="2284" y="9648"/>
                </a:lnTo>
                <a:lnTo>
                  <a:pt x="2296" y="9626"/>
                </a:lnTo>
                <a:lnTo>
                  <a:pt x="2308" y="9604"/>
                </a:lnTo>
                <a:lnTo>
                  <a:pt x="2321" y="9583"/>
                </a:lnTo>
                <a:lnTo>
                  <a:pt x="2335" y="9561"/>
                </a:lnTo>
                <a:lnTo>
                  <a:pt x="2349" y="9539"/>
                </a:lnTo>
                <a:lnTo>
                  <a:pt x="2363" y="9518"/>
                </a:lnTo>
                <a:lnTo>
                  <a:pt x="2378" y="9498"/>
                </a:lnTo>
                <a:lnTo>
                  <a:pt x="2393" y="9478"/>
                </a:lnTo>
                <a:lnTo>
                  <a:pt x="2409" y="9458"/>
                </a:lnTo>
                <a:lnTo>
                  <a:pt x="2426" y="9438"/>
                </a:lnTo>
                <a:lnTo>
                  <a:pt x="2522" y="9374"/>
                </a:lnTo>
                <a:lnTo>
                  <a:pt x="2621" y="9314"/>
                </a:lnTo>
                <a:lnTo>
                  <a:pt x="2723" y="9260"/>
                </a:lnTo>
                <a:lnTo>
                  <a:pt x="2828" y="9211"/>
                </a:lnTo>
                <a:lnTo>
                  <a:pt x="2934" y="9169"/>
                </a:lnTo>
                <a:lnTo>
                  <a:pt x="3044" y="9131"/>
                </a:lnTo>
                <a:lnTo>
                  <a:pt x="3156" y="9099"/>
                </a:lnTo>
                <a:lnTo>
                  <a:pt x="3268" y="9072"/>
                </a:lnTo>
                <a:lnTo>
                  <a:pt x="3383" y="9051"/>
                </a:lnTo>
                <a:lnTo>
                  <a:pt x="3500" y="9034"/>
                </a:lnTo>
                <a:lnTo>
                  <a:pt x="3617" y="9024"/>
                </a:lnTo>
                <a:lnTo>
                  <a:pt x="3736" y="9018"/>
                </a:lnTo>
                <a:lnTo>
                  <a:pt x="3857" y="9018"/>
                </a:lnTo>
                <a:lnTo>
                  <a:pt x="3976" y="9023"/>
                </a:lnTo>
                <a:lnTo>
                  <a:pt x="4098" y="9033"/>
                </a:lnTo>
                <a:lnTo>
                  <a:pt x="4220" y="9049"/>
                </a:lnTo>
                <a:lnTo>
                  <a:pt x="4342" y="9070"/>
                </a:lnTo>
                <a:lnTo>
                  <a:pt x="4463" y="9096"/>
                </a:lnTo>
                <a:lnTo>
                  <a:pt x="4584" y="9127"/>
                </a:lnTo>
                <a:lnTo>
                  <a:pt x="4706" y="9164"/>
                </a:lnTo>
                <a:lnTo>
                  <a:pt x="4826" y="9206"/>
                </a:lnTo>
                <a:lnTo>
                  <a:pt x="4946" y="9252"/>
                </a:lnTo>
                <a:lnTo>
                  <a:pt x="5065" y="9305"/>
                </a:lnTo>
                <a:lnTo>
                  <a:pt x="5184" y="9363"/>
                </a:lnTo>
                <a:lnTo>
                  <a:pt x="5300" y="9425"/>
                </a:lnTo>
                <a:lnTo>
                  <a:pt x="5415" y="9493"/>
                </a:lnTo>
                <a:lnTo>
                  <a:pt x="5529" y="9566"/>
                </a:lnTo>
                <a:lnTo>
                  <a:pt x="5640" y="9644"/>
                </a:lnTo>
                <a:lnTo>
                  <a:pt x="5750" y="9727"/>
                </a:lnTo>
                <a:lnTo>
                  <a:pt x="5857" y="9815"/>
                </a:lnTo>
                <a:lnTo>
                  <a:pt x="5962" y="9909"/>
                </a:lnTo>
                <a:lnTo>
                  <a:pt x="6065" y="10007"/>
                </a:lnTo>
                <a:lnTo>
                  <a:pt x="6168" y="10115"/>
                </a:lnTo>
                <a:lnTo>
                  <a:pt x="6267" y="10226"/>
                </a:lnTo>
                <a:lnTo>
                  <a:pt x="6360" y="10339"/>
                </a:lnTo>
                <a:lnTo>
                  <a:pt x="6447" y="10456"/>
                </a:lnTo>
                <a:lnTo>
                  <a:pt x="6529" y="10574"/>
                </a:lnTo>
                <a:lnTo>
                  <a:pt x="6604" y="10695"/>
                </a:lnTo>
                <a:lnTo>
                  <a:pt x="6673" y="10816"/>
                </a:lnTo>
                <a:lnTo>
                  <a:pt x="6738" y="10941"/>
                </a:lnTo>
                <a:lnTo>
                  <a:pt x="6796" y="11065"/>
                </a:lnTo>
                <a:lnTo>
                  <a:pt x="6848" y="11191"/>
                </a:lnTo>
                <a:lnTo>
                  <a:pt x="6895" y="11318"/>
                </a:lnTo>
                <a:lnTo>
                  <a:pt x="6936" y="11446"/>
                </a:lnTo>
                <a:lnTo>
                  <a:pt x="6971" y="11574"/>
                </a:lnTo>
                <a:lnTo>
                  <a:pt x="7000" y="11702"/>
                </a:lnTo>
                <a:lnTo>
                  <a:pt x="7023" y="11831"/>
                </a:lnTo>
                <a:lnTo>
                  <a:pt x="7041" y="11959"/>
                </a:lnTo>
                <a:lnTo>
                  <a:pt x="7052" y="12087"/>
                </a:lnTo>
                <a:lnTo>
                  <a:pt x="7058" y="12214"/>
                </a:lnTo>
                <a:lnTo>
                  <a:pt x="7057" y="12341"/>
                </a:lnTo>
                <a:lnTo>
                  <a:pt x="7051" y="12466"/>
                </a:lnTo>
                <a:lnTo>
                  <a:pt x="7039" y="12589"/>
                </a:lnTo>
                <a:lnTo>
                  <a:pt x="7019" y="12712"/>
                </a:lnTo>
                <a:lnTo>
                  <a:pt x="6995" y="12832"/>
                </a:lnTo>
                <a:lnTo>
                  <a:pt x="6965" y="12952"/>
                </a:lnTo>
                <a:lnTo>
                  <a:pt x="6929" y="13068"/>
                </a:lnTo>
                <a:lnTo>
                  <a:pt x="6886" y="13183"/>
                </a:lnTo>
                <a:lnTo>
                  <a:pt x="6837" y="13294"/>
                </a:lnTo>
                <a:lnTo>
                  <a:pt x="6783" y="13402"/>
                </a:lnTo>
                <a:lnTo>
                  <a:pt x="6722" y="13508"/>
                </a:lnTo>
                <a:lnTo>
                  <a:pt x="6655" y="13610"/>
                </a:lnTo>
                <a:lnTo>
                  <a:pt x="6582" y="13710"/>
                </a:lnTo>
                <a:lnTo>
                  <a:pt x="6502" y="13805"/>
                </a:lnTo>
                <a:lnTo>
                  <a:pt x="6481" y="13816"/>
                </a:lnTo>
                <a:lnTo>
                  <a:pt x="6459" y="13827"/>
                </a:lnTo>
                <a:lnTo>
                  <a:pt x="6437" y="13838"/>
                </a:lnTo>
                <a:lnTo>
                  <a:pt x="6415" y="13848"/>
                </a:lnTo>
                <a:lnTo>
                  <a:pt x="6392" y="13858"/>
                </a:lnTo>
                <a:lnTo>
                  <a:pt x="6369" y="13867"/>
                </a:lnTo>
                <a:lnTo>
                  <a:pt x="6345" y="13876"/>
                </a:lnTo>
                <a:lnTo>
                  <a:pt x="6322" y="13884"/>
                </a:lnTo>
                <a:lnTo>
                  <a:pt x="4463" y="14370"/>
                </a:lnTo>
                <a:close/>
                <a:moveTo>
                  <a:pt x="2096" y="14991"/>
                </a:moveTo>
                <a:lnTo>
                  <a:pt x="2070" y="14997"/>
                </a:lnTo>
                <a:lnTo>
                  <a:pt x="2036" y="15005"/>
                </a:lnTo>
                <a:lnTo>
                  <a:pt x="1995" y="15014"/>
                </a:lnTo>
                <a:lnTo>
                  <a:pt x="1949" y="15024"/>
                </a:lnTo>
                <a:lnTo>
                  <a:pt x="1899" y="15034"/>
                </a:lnTo>
                <a:lnTo>
                  <a:pt x="1849" y="15043"/>
                </a:lnTo>
                <a:lnTo>
                  <a:pt x="1825" y="15046"/>
                </a:lnTo>
                <a:lnTo>
                  <a:pt x="1801" y="15050"/>
                </a:lnTo>
                <a:lnTo>
                  <a:pt x="1777" y="15052"/>
                </a:lnTo>
                <a:lnTo>
                  <a:pt x="1755" y="15054"/>
                </a:lnTo>
                <a:lnTo>
                  <a:pt x="1716" y="15053"/>
                </a:lnTo>
                <a:lnTo>
                  <a:pt x="1679" y="15049"/>
                </a:lnTo>
                <a:lnTo>
                  <a:pt x="1641" y="15044"/>
                </a:lnTo>
                <a:lnTo>
                  <a:pt x="1604" y="15037"/>
                </a:lnTo>
                <a:lnTo>
                  <a:pt x="1568" y="15029"/>
                </a:lnTo>
                <a:lnTo>
                  <a:pt x="1532" y="15018"/>
                </a:lnTo>
                <a:lnTo>
                  <a:pt x="1498" y="15006"/>
                </a:lnTo>
                <a:lnTo>
                  <a:pt x="1464" y="14993"/>
                </a:lnTo>
                <a:lnTo>
                  <a:pt x="1430" y="14978"/>
                </a:lnTo>
                <a:lnTo>
                  <a:pt x="1398" y="14961"/>
                </a:lnTo>
                <a:lnTo>
                  <a:pt x="1367" y="14943"/>
                </a:lnTo>
                <a:lnTo>
                  <a:pt x="1336" y="14923"/>
                </a:lnTo>
                <a:lnTo>
                  <a:pt x="1307" y="14902"/>
                </a:lnTo>
                <a:lnTo>
                  <a:pt x="1279" y="14880"/>
                </a:lnTo>
                <a:lnTo>
                  <a:pt x="1251" y="14856"/>
                </a:lnTo>
                <a:lnTo>
                  <a:pt x="1225" y="14832"/>
                </a:lnTo>
                <a:lnTo>
                  <a:pt x="1201" y="14804"/>
                </a:lnTo>
                <a:lnTo>
                  <a:pt x="1177" y="14777"/>
                </a:lnTo>
                <a:lnTo>
                  <a:pt x="1155" y="14749"/>
                </a:lnTo>
                <a:lnTo>
                  <a:pt x="1134" y="14720"/>
                </a:lnTo>
                <a:lnTo>
                  <a:pt x="1115" y="14689"/>
                </a:lnTo>
                <a:lnTo>
                  <a:pt x="1096" y="14658"/>
                </a:lnTo>
                <a:lnTo>
                  <a:pt x="1080" y="14626"/>
                </a:lnTo>
                <a:lnTo>
                  <a:pt x="1065" y="14593"/>
                </a:lnTo>
                <a:lnTo>
                  <a:pt x="1051" y="14559"/>
                </a:lnTo>
                <a:lnTo>
                  <a:pt x="1040" y="14524"/>
                </a:lnTo>
                <a:lnTo>
                  <a:pt x="1030" y="14488"/>
                </a:lnTo>
                <a:lnTo>
                  <a:pt x="1021" y="14452"/>
                </a:lnTo>
                <a:lnTo>
                  <a:pt x="1015" y="14415"/>
                </a:lnTo>
                <a:lnTo>
                  <a:pt x="1010" y="14378"/>
                </a:lnTo>
                <a:lnTo>
                  <a:pt x="1007" y="14340"/>
                </a:lnTo>
                <a:lnTo>
                  <a:pt x="1006" y="14302"/>
                </a:lnTo>
                <a:lnTo>
                  <a:pt x="1009" y="14268"/>
                </a:lnTo>
                <a:lnTo>
                  <a:pt x="1015" y="14229"/>
                </a:lnTo>
                <a:lnTo>
                  <a:pt x="1022" y="14189"/>
                </a:lnTo>
                <a:lnTo>
                  <a:pt x="1029" y="14149"/>
                </a:lnTo>
                <a:lnTo>
                  <a:pt x="1037" y="14110"/>
                </a:lnTo>
                <a:lnTo>
                  <a:pt x="1045" y="14074"/>
                </a:lnTo>
                <a:lnTo>
                  <a:pt x="1051" y="14043"/>
                </a:lnTo>
                <a:lnTo>
                  <a:pt x="1056" y="14020"/>
                </a:lnTo>
                <a:lnTo>
                  <a:pt x="1586" y="12106"/>
                </a:lnTo>
                <a:lnTo>
                  <a:pt x="1641" y="12105"/>
                </a:lnTo>
                <a:lnTo>
                  <a:pt x="1695" y="12105"/>
                </a:lnTo>
                <a:lnTo>
                  <a:pt x="1749" y="12107"/>
                </a:lnTo>
                <a:lnTo>
                  <a:pt x="1804" y="12111"/>
                </a:lnTo>
                <a:lnTo>
                  <a:pt x="1858" y="12116"/>
                </a:lnTo>
                <a:lnTo>
                  <a:pt x="1913" y="12122"/>
                </a:lnTo>
                <a:lnTo>
                  <a:pt x="1968" y="12130"/>
                </a:lnTo>
                <a:lnTo>
                  <a:pt x="2023" y="12139"/>
                </a:lnTo>
                <a:lnTo>
                  <a:pt x="2077" y="12149"/>
                </a:lnTo>
                <a:lnTo>
                  <a:pt x="2133" y="12161"/>
                </a:lnTo>
                <a:lnTo>
                  <a:pt x="2187" y="12175"/>
                </a:lnTo>
                <a:lnTo>
                  <a:pt x="2242" y="12190"/>
                </a:lnTo>
                <a:lnTo>
                  <a:pt x="2297" y="12206"/>
                </a:lnTo>
                <a:lnTo>
                  <a:pt x="2351" y="12224"/>
                </a:lnTo>
                <a:lnTo>
                  <a:pt x="2405" y="12243"/>
                </a:lnTo>
                <a:lnTo>
                  <a:pt x="2460" y="12264"/>
                </a:lnTo>
                <a:lnTo>
                  <a:pt x="2513" y="12286"/>
                </a:lnTo>
                <a:lnTo>
                  <a:pt x="2566" y="12309"/>
                </a:lnTo>
                <a:lnTo>
                  <a:pt x="2619" y="12335"/>
                </a:lnTo>
                <a:lnTo>
                  <a:pt x="2673" y="12362"/>
                </a:lnTo>
                <a:lnTo>
                  <a:pt x="2725" y="12390"/>
                </a:lnTo>
                <a:lnTo>
                  <a:pt x="2776" y="12420"/>
                </a:lnTo>
                <a:lnTo>
                  <a:pt x="2829" y="12451"/>
                </a:lnTo>
                <a:lnTo>
                  <a:pt x="2879" y="12483"/>
                </a:lnTo>
                <a:lnTo>
                  <a:pt x="2930" y="12517"/>
                </a:lnTo>
                <a:lnTo>
                  <a:pt x="2980" y="12553"/>
                </a:lnTo>
                <a:lnTo>
                  <a:pt x="3029" y="12590"/>
                </a:lnTo>
                <a:lnTo>
                  <a:pt x="3078" y="12629"/>
                </a:lnTo>
                <a:lnTo>
                  <a:pt x="3126" y="12669"/>
                </a:lnTo>
                <a:lnTo>
                  <a:pt x="3174" y="12711"/>
                </a:lnTo>
                <a:lnTo>
                  <a:pt x="3220" y="12754"/>
                </a:lnTo>
                <a:lnTo>
                  <a:pt x="3266" y="12799"/>
                </a:lnTo>
                <a:lnTo>
                  <a:pt x="3312" y="12845"/>
                </a:lnTo>
                <a:lnTo>
                  <a:pt x="3356" y="12893"/>
                </a:lnTo>
                <a:lnTo>
                  <a:pt x="3398" y="12941"/>
                </a:lnTo>
                <a:lnTo>
                  <a:pt x="3439" y="12990"/>
                </a:lnTo>
                <a:lnTo>
                  <a:pt x="3479" y="13039"/>
                </a:lnTo>
                <a:lnTo>
                  <a:pt x="3517" y="13089"/>
                </a:lnTo>
                <a:lnTo>
                  <a:pt x="3553" y="13139"/>
                </a:lnTo>
                <a:lnTo>
                  <a:pt x="3588" y="13191"/>
                </a:lnTo>
                <a:lnTo>
                  <a:pt x="3621" y="13243"/>
                </a:lnTo>
                <a:lnTo>
                  <a:pt x="3653" y="13295"/>
                </a:lnTo>
                <a:lnTo>
                  <a:pt x="3683" y="13348"/>
                </a:lnTo>
                <a:lnTo>
                  <a:pt x="3712" y="13401"/>
                </a:lnTo>
                <a:lnTo>
                  <a:pt x="3739" y="13455"/>
                </a:lnTo>
                <a:lnTo>
                  <a:pt x="3765" y="13509"/>
                </a:lnTo>
                <a:lnTo>
                  <a:pt x="3788" y="13563"/>
                </a:lnTo>
                <a:lnTo>
                  <a:pt x="3811" y="13617"/>
                </a:lnTo>
                <a:lnTo>
                  <a:pt x="3833" y="13671"/>
                </a:lnTo>
                <a:lnTo>
                  <a:pt x="3852" y="13727"/>
                </a:lnTo>
                <a:lnTo>
                  <a:pt x="3870" y="13782"/>
                </a:lnTo>
                <a:lnTo>
                  <a:pt x="3887" y="13837"/>
                </a:lnTo>
                <a:lnTo>
                  <a:pt x="3902" y="13892"/>
                </a:lnTo>
                <a:lnTo>
                  <a:pt x="3915" y="13948"/>
                </a:lnTo>
                <a:lnTo>
                  <a:pt x="3927" y="14004"/>
                </a:lnTo>
                <a:lnTo>
                  <a:pt x="3938" y="14060"/>
                </a:lnTo>
                <a:lnTo>
                  <a:pt x="3946" y="14115"/>
                </a:lnTo>
                <a:lnTo>
                  <a:pt x="3954" y="14170"/>
                </a:lnTo>
                <a:lnTo>
                  <a:pt x="3960" y="14225"/>
                </a:lnTo>
                <a:lnTo>
                  <a:pt x="3964" y="14282"/>
                </a:lnTo>
                <a:lnTo>
                  <a:pt x="3967" y="14337"/>
                </a:lnTo>
                <a:lnTo>
                  <a:pt x="3968" y="14391"/>
                </a:lnTo>
                <a:lnTo>
                  <a:pt x="3968" y="14446"/>
                </a:lnTo>
                <a:lnTo>
                  <a:pt x="3967" y="14500"/>
                </a:lnTo>
                <a:lnTo>
                  <a:pt x="2096" y="14991"/>
                </a:lnTo>
                <a:close/>
                <a:moveTo>
                  <a:pt x="5275" y="8311"/>
                </a:moveTo>
                <a:lnTo>
                  <a:pt x="5187" y="8277"/>
                </a:lnTo>
                <a:lnTo>
                  <a:pt x="5099" y="8245"/>
                </a:lnTo>
                <a:lnTo>
                  <a:pt x="5011" y="8215"/>
                </a:lnTo>
                <a:lnTo>
                  <a:pt x="4921" y="8186"/>
                </a:lnTo>
                <a:lnTo>
                  <a:pt x="4877" y="8173"/>
                </a:lnTo>
                <a:lnTo>
                  <a:pt x="4833" y="8159"/>
                </a:lnTo>
                <a:lnTo>
                  <a:pt x="4787" y="8147"/>
                </a:lnTo>
                <a:lnTo>
                  <a:pt x="4742" y="8135"/>
                </a:lnTo>
                <a:lnTo>
                  <a:pt x="4698" y="8124"/>
                </a:lnTo>
                <a:lnTo>
                  <a:pt x="4652" y="8113"/>
                </a:lnTo>
                <a:lnTo>
                  <a:pt x="4607" y="8103"/>
                </a:lnTo>
                <a:lnTo>
                  <a:pt x="4562" y="8093"/>
                </a:lnTo>
                <a:lnTo>
                  <a:pt x="4517" y="8084"/>
                </a:lnTo>
                <a:lnTo>
                  <a:pt x="4471" y="8075"/>
                </a:lnTo>
                <a:lnTo>
                  <a:pt x="4426" y="8067"/>
                </a:lnTo>
                <a:lnTo>
                  <a:pt x="4380" y="8059"/>
                </a:lnTo>
                <a:lnTo>
                  <a:pt x="4335" y="8052"/>
                </a:lnTo>
                <a:lnTo>
                  <a:pt x="4289" y="8045"/>
                </a:lnTo>
                <a:lnTo>
                  <a:pt x="4243" y="8039"/>
                </a:lnTo>
                <a:lnTo>
                  <a:pt x="4198" y="8034"/>
                </a:lnTo>
                <a:lnTo>
                  <a:pt x="4153" y="8029"/>
                </a:lnTo>
                <a:lnTo>
                  <a:pt x="4106" y="8025"/>
                </a:lnTo>
                <a:lnTo>
                  <a:pt x="4061" y="8021"/>
                </a:lnTo>
                <a:lnTo>
                  <a:pt x="4015" y="8018"/>
                </a:lnTo>
                <a:lnTo>
                  <a:pt x="3969" y="8015"/>
                </a:lnTo>
                <a:lnTo>
                  <a:pt x="3923" y="8013"/>
                </a:lnTo>
                <a:lnTo>
                  <a:pt x="3878" y="8011"/>
                </a:lnTo>
                <a:lnTo>
                  <a:pt x="3832" y="8011"/>
                </a:lnTo>
                <a:lnTo>
                  <a:pt x="7706" y="4116"/>
                </a:lnTo>
                <a:lnTo>
                  <a:pt x="7763" y="4063"/>
                </a:lnTo>
                <a:lnTo>
                  <a:pt x="7820" y="4012"/>
                </a:lnTo>
                <a:lnTo>
                  <a:pt x="7880" y="3964"/>
                </a:lnTo>
                <a:lnTo>
                  <a:pt x="7941" y="3918"/>
                </a:lnTo>
                <a:lnTo>
                  <a:pt x="8003" y="3875"/>
                </a:lnTo>
                <a:lnTo>
                  <a:pt x="8067" y="3834"/>
                </a:lnTo>
                <a:lnTo>
                  <a:pt x="8131" y="3796"/>
                </a:lnTo>
                <a:lnTo>
                  <a:pt x="8197" y="3760"/>
                </a:lnTo>
                <a:lnTo>
                  <a:pt x="8265" y="3725"/>
                </a:lnTo>
                <a:lnTo>
                  <a:pt x="8333" y="3694"/>
                </a:lnTo>
                <a:lnTo>
                  <a:pt x="8403" y="3665"/>
                </a:lnTo>
                <a:lnTo>
                  <a:pt x="8473" y="3638"/>
                </a:lnTo>
                <a:lnTo>
                  <a:pt x="8544" y="3613"/>
                </a:lnTo>
                <a:lnTo>
                  <a:pt x="8616" y="3591"/>
                </a:lnTo>
                <a:lnTo>
                  <a:pt x="8689" y="3571"/>
                </a:lnTo>
                <a:lnTo>
                  <a:pt x="8764" y="3554"/>
                </a:lnTo>
                <a:lnTo>
                  <a:pt x="8838" y="3539"/>
                </a:lnTo>
                <a:lnTo>
                  <a:pt x="8914" y="3526"/>
                </a:lnTo>
                <a:lnTo>
                  <a:pt x="8989" y="3515"/>
                </a:lnTo>
                <a:lnTo>
                  <a:pt x="9067" y="3507"/>
                </a:lnTo>
                <a:lnTo>
                  <a:pt x="9143" y="3501"/>
                </a:lnTo>
                <a:lnTo>
                  <a:pt x="9220" y="3497"/>
                </a:lnTo>
                <a:lnTo>
                  <a:pt x="9299" y="3496"/>
                </a:lnTo>
                <a:lnTo>
                  <a:pt x="9377" y="3497"/>
                </a:lnTo>
                <a:lnTo>
                  <a:pt x="9457" y="3500"/>
                </a:lnTo>
                <a:lnTo>
                  <a:pt x="9535" y="3505"/>
                </a:lnTo>
                <a:lnTo>
                  <a:pt x="9615" y="3512"/>
                </a:lnTo>
                <a:lnTo>
                  <a:pt x="9694" y="3522"/>
                </a:lnTo>
                <a:lnTo>
                  <a:pt x="9775" y="3534"/>
                </a:lnTo>
                <a:lnTo>
                  <a:pt x="9854" y="3548"/>
                </a:lnTo>
                <a:lnTo>
                  <a:pt x="9934" y="3565"/>
                </a:lnTo>
                <a:lnTo>
                  <a:pt x="10014" y="3583"/>
                </a:lnTo>
                <a:lnTo>
                  <a:pt x="5275" y="8311"/>
                </a:lnTo>
                <a:close/>
                <a:moveTo>
                  <a:pt x="7441" y="10165"/>
                </a:moveTo>
                <a:lnTo>
                  <a:pt x="7406" y="10107"/>
                </a:lnTo>
                <a:lnTo>
                  <a:pt x="7369" y="10049"/>
                </a:lnTo>
                <a:lnTo>
                  <a:pt x="7332" y="9992"/>
                </a:lnTo>
                <a:lnTo>
                  <a:pt x="7295" y="9936"/>
                </a:lnTo>
                <a:lnTo>
                  <a:pt x="7257" y="9880"/>
                </a:lnTo>
                <a:lnTo>
                  <a:pt x="7218" y="9824"/>
                </a:lnTo>
                <a:lnTo>
                  <a:pt x="7177" y="9768"/>
                </a:lnTo>
                <a:lnTo>
                  <a:pt x="7137" y="9714"/>
                </a:lnTo>
                <a:lnTo>
                  <a:pt x="7096" y="9660"/>
                </a:lnTo>
                <a:lnTo>
                  <a:pt x="7053" y="9606"/>
                </a:lnTo>
                <a:lnTo>
                  <a:pt x="7009" y="9553"/>
                </a:lnTo>
                <a:lnTo>
                  <a:pt x="6965" y="9500"/>
                </a:lnTo>
                <a:lnTo>
                  <a:pt x="6919" y="9448"/>
                </a:lnTo>
                <a:lnTo>
                  <a:pt x="6873" y="9397"/>
                </a:lnTo>
                <a:lnTo>
                  <a:pt x="6824" y="9347"/>
                </a:lnTo>
                <a:lnTo>
                  <a:pt x="6776" y="9297"/>
                </a:lnTo>
                <a:lnTo>
                  <a:pt x="6718" y="9240"/>
                </a:lnTo>
                <a:lnTo>
                  <a:pt x="6658" y="9185"/>
                </a:lnTo>
                <a:lnTo>
                  <a:pt x="6598" y="9131"/>
                </a:lnTo>
                <a:lnTo>
                  <a:pt x="6538" y="9079"/>
                </a:lnTo>
                <a:lnTo>
                  <a:pt x="6475" y="9029"/>
                </a:lnTo>
                <a:lnTo>
                  <a:pt x="6412" y="8978"/>
                </a:lnTo>
                <a:lnTo>
                  <a:pt x="6348" y="8930"/>
                </a:lnTo>
                <a:lnTo>
                  <a:pt x="6284" y="8884"/>
                </a:lnTo>
                <a:lnTo>
                  <a:pt x="6220" y="8838"/>
                </a:lnTo>
                <a:lnTo>
                  <a:pt x="6153" y="8794"/>
                </a:lnTo>
                <a:lnTo>
                  <a:pt x="6087" y="8750"/>
                </a:lnTo>
                <a:lnTo>
                  <a:pt x="6021" y="8707"/>
                </a:lnTo>
                <a:lnTo>
                  <a:pt x="5953" y="8666"/>
                </a:lnTo>
                <a:lnTo>
                  <a:pt x="5885" y="8626"/>
                </a:lnTo>
                <a:lnTo>
                  <a:pt x="5816" y="8587"/>
                </a:lnTo>
                <a:lnTo>
                  <a:pt x="5748" y="8549"/>
                </a:lnTo>
                <a:lnTo>
                  <a:pt x="10542" y="3766"/>
                </a:lnTo>
                <a:lnTo>
                  <a:pt x="10613" y="3798"/>
                </a:lnTo>
                <a:lnTo>
                  <a:pt x="10683" y="3831"/>
                </a:lnTo>
                <a:lnTo>
                  <a:pt x="10752" y="3866"/>
                </a:lnTo>
                <a:lnTo>
                  <a:pt x="10821" y="3903"/>
                </a:lnTo>
                <a:lnTo>
                  <a:pt x="10889" y="3942"/>
                </a:lnTo>
                <a:lnTo>
                  <a:pt x="10958" y="3983"/>
                </a:lnTo>
                <a:lnTo>
                  <a:pt x="11025" y="4026"/>
                </a:lnTo>
                <a:lnTo>
                  <a:pt x="11091" y="4070"/>
                </a:lnTo>
                <a:lnTo>
                  <a:pt x="11157" y="4115"/>
                </a:lnTo>
                <a:lnTo>
                  <a:pt x="11222" y="4163"/>
                </a:lnTo>
                <a:lnTo>
                  <a:pt x="11287" y="4212"/>
                </a:lnTo>
                <a:lnTo>
                  <a:pt x="11351" y="4263"/>
                </a:lnTo>
                <a:lnTo>
                  <a:pt x="11413" y="4317"/>
                </a:lnTo>
                <a:lnTo>
                  <a:pt x="11476" y="4372"/>
                </a:lnTo>
                <a:lnTo>
                  <a:pt x="11537" y="4428"/>
                </a:lnTo>
                <a:lnTo>
                  <a:pt x="11597" y="4487"/>
                </a:lnTo>
                <a:lnTo>
                  <a:pt x="11648" y="4537"/>
                </a:lnTo>
                <a:lnTo>
                  <a:pt x="11696" y="4590"/>
                </a:lnTo>
                <a:lnTo>
                  <a:pt x="11743" y="4642"/>
                </a:lnTo>
                <a:lnTo>
                  <a:pt x="11790" y="4696"/>
                </a:lnTo>
                <a:lnTo>
                  <a:pt x="11835" y="4749"/>
                </a:lnTo>
                <a:lnTo>
                  <a:pt x="11878" y="4803"/>
                </a:lnTo>
                <a:lnTo>
                  <a:pt x="11919" y="4859"/>
                </a:lnTo>
                <a:lnTo>
                  <a:pt x="11961" y="4915"/>
                </a:lnTo>
                <a:lnTo>
                  <a:pt x="12000" y="4970"/>
                </a:lnTo>
                <a:lnTo>
                  <a:pt x="12038" y="5027"/>
                </a:lnTo>
                <a:lnTo>
                  <a:pt x="12075" y="5084"/>
                </a:lnTo>
                <a:lnTo>
                  <a:pt x="12110" y="5142"/>
                </a:lnTo>
                <a:lnTo>
                  <a:pt x="12145" y="5200"/>
                </a:lnTo>
                <a:lnTo>
                  <a:pt x="12178" y="5258"/>
                </a:lnTo>
                <a:lnTo>
                  <a:pt x="12210" y="5316"/>
                </a:lnTo>
                <a:lnTo>
                  <a:pt x="12241" y="5375"/>
                </a:lnTo>
                <a:lnTo>
                  <a:pt x="7441" y="10165"/>
                </a:lnTo>
                <a:close/>
                <a:moveTo>
                  <a:pt x="8055" y="11941"/>
                </a:moveTo>
                <a:lnTo>
                  <a:pt x="8045" y="11856"/>
                </a:lnTo>
                <a:lnTo>
                  <a:pt x="8035" y="11772"/>
                </a:lnTo>
                <a:lnTo>
                  <a:pt x="8022" y="11687"/>
                </a:lnTo>
                <a:lnTo>
                  <a:pt x="8008" y="11603"/>
                </a:lnTo>
                <a:lnTo>
                  <a:pt x="7991" y="11519"/>
                </a:lnTo>
                <a:lnTo>
                  <a:pt x="7973" y="11435"/>
                </a:lnTo>
                <a:lnTo>
                  <a:pt x="7953" y="11352"/>
                </a:lnTo>
                <a:lnTo>
                  <a:pt x="7931" y="11270"/>
                </a:lnTo>
                <a:lnTo>
                  <a:pt x="7907" y="11187"/>
                </a:lnTo>
                <a:lnTo>
                  <a:pt x="7882" y="11105"/>
                </a:lnTo>
                <a:lnTo>
                  <a:pt x="7854" y="11024"/>
                </a:lnTo>
                <a:lnTo>
                  <a:pt x="7825" y="10943"/>
                </a:lnTo>
                <a:lnTo>
                  <a:pt x="7795" y="10861"/>
                </a:lnTo>
                <a:lnTo>
                  <a:pt x="7763" y="10781"/>
                </a:lnTo>
                <a:lnTo>
                  <a:pt x="7729" y="10702"/>
                </a:lnTo>
                <a:lnTo>
                  <a:pt x="7693" y="10622"/>
                </a:lnTo>
                <a:lnTo>
                  <a:pt x="12448" y="5878"/>
                </a:lnTo>
                <a:lnTo>
                  <a:pt x="12475" y="5965"/>
                </a:lnTo>
                <a:lnTo>
                  <a:pt x="12499" y="6051"/>
                </a:lnTo>
                <a:lnTo>
                  <a:pt x="12519" y="6137"/>
                </a:lnTo>
                <a:lnTo>
                  <a:pt x="12537" y="6223"/>
                </a:lnTo>
                <a:lnTo>
                  <a:pt x="12553" y="6310"/>
                </a:lnTo>
                <a:lnTo>
                  <a:pt x="12566" y="6396"/>
                </a:lnTo>
                <a:lnTo>
                  <a:pt x="12576" y="6482"/>
                </a:lnTo>
                <a:lnTo>
                  <a:pt x="12583" y="6568"/>
                </a:lnTo>
                <a:lnTo>
                  <a:pt x="12588" y="6654"/>
                </a:lnTo>
                <a:lnTo>
                  <a:pt x="12591" y="6739"/>
                </a:lnTo>
                <a:lnTo>
                  <a:pt x="12591" y="6824"/>
                </a:lnTo>
                <a:lnTo>
                  <a:pt x="12588" y="6908"/>
                </a:lnTo>
                <a:lnTo>
                  <a:pt x="12582" y="6992"/>
                </a:lnTo>
                <a:lnTo>
                  <a:pt x="12574" y="7075"/>
                </a:lnTo>
                <a:lnTo>
                  <a:pt x="12563" y="7158"/>
                </a:lnTo>
                <a:lnTo>
                  <a:pt x="12549" y="7239"/>
                </a:lnTo>
                <a:lnTo>
                  <a:pt x="12533" y="7320"/>
                </a:lnTo>
                <a:lnTo>
                  <a:pt x="12513" y="7400"/>
                </a:lnTo>
                <a:lnTo>
                  <a:pt x="12492" y="7479"/>
                </a:lnTo>
                <a:lnTo>
                  <a:pt x="12467" y="7557"/>
                </a:lnTo>
                <a:lnTo>
                  <a:pt x="12439" y="7635"/>
                </a:lnTo>
                <a:lnTo>
                  <a:pt x="12409" y="7710"/>
                </a:lnTo>
                <a:lnTo>
                  <a:pt x="12376" y="7784"/>
                </a:lnTo>
                <a:lnTo>
                  <a:pt x="12340" y="7857"/>
                </a:lnTo>
                <a:lnTo>
                  <a:pt x="12302" y="7930"/>
                </a:lnTo>
                <a:lnTo>
                  <a:pt x="12260" y="8000"/>
                </a:lnTo>
                <a:lnTo>
                  <a:pt x="12216" y="8069"/>
                </a:lnTo>
                <a:lnTo>
                  <a:pt x="12169" y="8136"/>
                </a:lnTo>
                <a:lnTo>
                  <a:pt x="12120" y="8203"/>
                </a:lnTo>
                <a:lnTo>
                  <a:pt x="12066" y="8267"/>
                </a:lnTo>
                <a:lnTo>
                  <a:pt x="12011" y="8329"/>
                </a:lnTo>
                <a:lnTo>
                  <a:pt x="11953" y="8389"/>
                </a:lnTo>
                <a:lnTo>
                  <a:pt x="11947" y="8394"/>
                </a:lnTo>
                <a:lnTo>
                  <a:pt x="11940" y="8400"/>
                </a:lnTo>
                <a:lnTo>
                  <a:pt x="11948" y="8406"/>
                </a:lnTo>
                <a:lnTo>
                  <a:pt x="8060" y="12314"/>
                </a:lnTo>
                <a:lnTo>
                  <a:pt x="8061" y="12268"/>
                </a:lnTo>
                <a:lnTo>
                  <a:pt x="8061" y="12222"/>
                </a:lnTo>
                <a:lnTo>
                  <a:pt x="8062" y="12175"/>
                </a:lnTo>
                <a:lnTo>
                  <a:pt x="8062" y="12129"/>
                </a:lnTo>
                <a:lnTo>
                  <a:pt x="8062" y="12082"/>
                </a:lnTo>
                <a:lnTo>
                  <a:pt x="8061" y="12035"/>
                </a:lnTo>
                <a:lnTo>
                  <a:pt x="8059" y="11988"/>
                </a:lnTo>
                <a:lnTo>
                  <a:pt x="8055" y="11941"/>
                </a:lnTo>
                <a:close/>
                <a:moveTo>
                  <a:pt x="14785" y="1295"/>
                </a:moveTo>
                <a:lnTo>
                  <a:pt x="14707" y="1218"/>
                </a:lnTo>
                <a:lnTo>
                  <a:pt x="14626" y="1144"/>
                </a:lnTo>
                <a:lnTo>
                  <a:pt x="14546" y="1072"/>
                </a:lnTo>
                <a:lnTo>
                  <a:pt x="14463" y="1003"/>
                </a:lnTo>
                <a:lnTo>
                  <a:pt x="14379" y="934"/>
                </a:lnTo>
                <a:lnTo>
                  <a:pt x="14294" y="869"/>
                </a:lnTo>
                <a:lnTo>
                  <a:pt x="14208" y="806"/>
                </a:lnTo>
                <a:lnTo>
                  <a:pt x="14119" y="745"/>
                </a:lnTo>
                <a:lnTo>
                  <a:pt x="14031" y="685"/>
                </a:lnTo>
                <a:lnTo>
                  <a:pt x="13941" y="629"/>
                </a:lnTo>
                <a:lnTo>
                  <a:pt x="13851" y="575"/>
                </a:lnTo>
                <a:lnTo>
                  <a:pt x="13758" y="523"/>
                </a:lnTo>
                <a:lnTo>
                  <a:pt x="13666" y="473"/>
                </a:lnTo>
                <a:lnTo>
                  <a:pt x="13572" y="426"/>
                </a:lnTo>
                <a:lnTo>
                  <a:pt x="13478" y="380"/>
                </a:lnTo>
                <a:lnTo>
                  <a:pt x="13382" y="338"/>
                </a:lnTo>
                <a:lnTo>
                  <a:pt x="13286" y="298"/>
                </a:lnTo>
                <a:lnTo>
                  <a:pt x="13190" y="260"/>
                </a:lnTo>
                <a:lnTo>
                  <a:pt x="13092" y="225"/>
                </a:lnTo>
                <a:lnTo>
                  <a:pt x="12995" y="193"/>
                </a:lnTo>
                <a:lnTo>
                  <a:pt x="12896" y="162"/>
                </a:lnTo>
                <a:lnTo>
                  <a:pt x="12798" y="134"/>
                </a:lnTo>
                <a:lnTo>
                  <a:pt x="12698" y="109"/>
                </a:lnTo>
                <a:lnTo>
                  <a:pt x="12598" y="86"/>
                </a:lnTo>
                <a:lnTo>
                  <a:pt x="12499" y="66"/>
                </a:lnTo>
                <a:lnTo>
                  <a:pt x="12398" y="49"/>
                </a:lnTo>
                <a:lnTo>
                  <a:pt x="12299" y="34"/>
                </a:lnTo>
                <a:lnTo>
                  <a:pt x="12198" y="22"/>
                </a:lnTo>
                <a:lnTo>
                  <a:pt x="12097" y="12"/>
                </a:lnTo>
                <a:lnTo>
                  <a:pt x="11996" y="5"/>
                </a:lnTo>
                <a:lnTo>
                  <a:pt x="11895" y="1"/>
                </a:lnTo>
                <a:lnTo>
                  <a:pt x="11795" y="0"/>
                </a:lnTo>
                <a:lnTo>
                  <a:pt x="11710" y="1"/>
                </a:lnTo>
                <a:lnTo>
                  <a:pt x="11626" y="4"/>
                </a:lnTo>
                <a:lnTo>
                  <a:pt x="11542" y="9"/>
                </a:lnTo>
                <a:lnTo>
                  <a:pt x="11459" y="16"/>
                </a:lnTo>
                <a:lnTo>
                  <a:pt x="11376" y="24"/>
                </a:lnTo>
                <a:lnTo>
                  <a:pt x="11294" y="35"/>
                </a:lnTo>
                <a:lnTo>
                  <a:pt x="11212" y="47"/>
                </a:lnTo>
                <a:lnTo>
                  <a:pt x="11131" y="62"/>
                </a:lnTo>
                <a:lnTo>
                  <a:pt x="11051" y="78"/>
                </a:lnTo>
                <a:lnTo>
                  <a:pt x="10971" y="96"/>
                </a:lnTo>
                <a:lnTo>
                  <a:pt x="10892" y="116"/>
                </a:lnTo>
                <a:lnTo>
                  <a:pt x="10814" y="139"/>
                </a:lnTo>
                <a:lnTo>
                  <a:pt x="10736" y="162"/>
                </a:lnTo>
                <a:lnTo>
                  <a:pt x="10660" y="187"/>
                </a:lnTo>
                <a:lnTo>
                  <a:pt x="10584" y="215"/>
                </a:lnTo>
                <a:lnTo>
                  <a:pt x="10509" y="243"/>
                </a:lnTo>
                <a:lnTo>
                  <a:pt x="10435" y="274"/>
                </a:lnTo>
                <a:lnTo>
                  <a:pt x="10361" y="307"/>
                </a:lnTo>
                <a:lnTo>
                  <a:pt x="10289" y="341"/>
                </a:lnTo>
                <a:lnTo>
                  <a:pt x="10217" y="377"/>
                </a:lnTo>
                <a:lnTo>
                  <a:pt x="10147" y="416"/>
                </a:lnTo>
                <a:lnTo>
                  <a:pt x="10078" y="455"/>
                </a:lnTo>
                <a:lnTo>
                  <a:pt x="10010" y="496"/>
                </a:lnTo>
                <a:lnTo>
                  <a:pt x="9943" y="539"/>
                </a:lnTo>
                <a:lnTo>
                  <a:pt x="9876" y="583"/>
                </a:lnTo>
                <a:lnTo>
                  <a:pt x="9811" y="629"/>
                </a:lnTo>
                <a:lnTo>
                  <a:pt x="9748" y="677"/>
                </a:lnTo>
                <a:lnTo>
                  <a:pt x="9684" y="727"/>
                </a:lnTo>
                <a:lnTo>
                  <a:pt x="9623" y="778"/>
                </a:lnTo>
                <a:lnTo>
                  <a:pt x="9562" y="831"/>
                </a:lnTo>
                <a:lnTo>
                  <a:pt x="9503" y="885"/>
                </a:lnTo>
                <a:lnTo>
                  <a:pt x="9446" y="941"/>
                </a:lnTo>
                <a:lnTo>
                  <a:pt x="6997" y="3403"/>
                </a:lnTo>
                <a:lnTo>
                  <a:pt x="6986" y="3412"/>
                </a:lnTo>
                <a:lnTo>
                  <a:pt x="6974" y="3422"/>
                </a:lnTo>
                <a:lnTo>
                  <a:pt x="6969" y="3428"/>
                </a:lnTo>
                <a:lnTo>
                  <a:pt x="6964" y="3435"/>
                </a:lnTo>
                <a:lnTo>
                  <a:pt x="6965" y="3436"/>
                </a:lnTo>
                <a:lnTo>
                  <a:pt x="1769" y="8659"/>
                </a:lnTo>
                <a:lnTo>
                  <a:pt x="1747" y="8681"/>
                </a:lnTo>
                <a:lnTo>
                  <a:pt x="1725" y="8704"/>
                </a:lnTo>
                <a:lnTo>
                  <a:pt x="1704" y="8728"/>
                </a:lnTo>
                <a:lnTo>
                  <a:pt x="1683" y="8751"/>
                </a:lnTo>
                <a:lnTo>
                  <a:pt x="1642" y="8799"/>
                </a:lnTo>
                <a:lnTo>
                  <a:pt x="1602" y="8847"/>
                </a:lnTo>
                <a:lnTo>
                  <a:pt x="1564" y="8897"/>
                </a:lnTo>
                <a:lnTo>
                  <a:pt x="1528" y="8949"/>
                </a:lnTo>
                <a:lnTo>
                  <a:pt x="1494" y="9002"/>
                </a:lnTo>
                <a:lnTo>
                  <a:pt x="1461" y="9055"/>
                </a:lnTo>
                <a:lnTo>
                  <a:pt x="1429" y="9109"/>
                </a:lnTo>
                <a:lnTo>
                  <a:pt x="1400" y="9165"/>
                </a:lnTo>
                <a:lnTo>
                  <a:pt x="1372" y="9221"/>
                </a:lnTo>
                <a:lnTo>
                  <a:pt x="1347" y="9279"/>
                </a:lnTo>
                <a:lnTo>
                  <a:pt x="1322" y="9336"/>
                </a:lnTo>
                <a:lnTo>
                  <a:pt x="1300" y="9395"/>
                </a:lnTo>
                <a:lnTo>
                  <a:pt x="1279" y="9454"/>
                </a:lnTo>
                <a:lnTo>
                  <a:pt x="1260" y="9514"/>
                </a:lnTo>
                <a:lnTo>
                  <a:pt x="78" y="13784"/>
                </a:lnTo>
                <a:lnTo>
                  <a:pt x="74" y="13803"/>
                </a:lnTo>
                <a:lnTo>
                  <a:pt x="65" y="13846"/>
                </a:lnTo>
                <a:lnTo>
                  <a:pt x="53" y="13908"/>
                </a:lnTo>
                <a:lnTo>
                  <a:pt x="38" y="13984"/>
                </a:lnTo>
                <a:lnTo>
                  <a:pt x="31" y="14025"/>
                </a:lnTo>
                <a:lnTo>
                  <a:pt x="24" y="14066"/>
                </a:lnTo>
                <a:lnTo>
                  <a:pt x="18" y="14109"/>
                </a:lnTo>
                <a:lnTo>
                  <a:pt x="12" y="14151"/>
                </a:lnTo>
                <a:lnTo>
                  <a:pt x="7" y="14192"/>
                </a:lnTo>
                <a:lnTo>
                  <a:pt x="3" y="14231"/>
                </a:lnTo>
                <a:lnTo>
                  <a:pt x="1" y="14268"/>
                </a:lnTo>
                <a:lnTo>
                  <a:pt x="0" y="14302"/>
                </a:lnTo>
                <a:lnTo>
                  <a:pt x="2" y="14392"/>
                </a:lnTo>
                <a:lnTo>
                  <a:pt x="9" y="14481"/>
                </a:lnTo>
                <a:lnTo>
                  <a:pt x="20" y="14569"/>
                </a:lnTo>
                <a:lnTo>
                  <a:pt x="36" y="14656"/>
                </a:lnTo>
                <a:lnTo>
                  <a:pt x="55" y="14740"/>
                </a:lnTo>
                <a:lnTo>
                  <a:pt x="79" y="14824"/>
                </a:lnTo>
                <a:lnTo>
                  <a:pt x="107" y="14906"/>
                </a:lnTo>
                <a:lnTo>
                  <a:pt x="139" y="14985"/>
                </a:lnTo>
                <a:lnTo>
                  <a:pt x="174" y="15063"/>
                </a:lnTo>
                <a:lnTo>
                  <a:pt x="212" y="15139"/>
                </a:lnTo>
                <a:lnTo>
                  <a:pt x="256" y="15212"/>
                </a:lnTo>
                <a:lnTo>
                  <a:pt x="301" y="15283"/>
                </a:lnTo>
                <a:lnTo>
                  <a:pt x="350" y="15352"/>
                </a:lnTo>
                <a:lnTo>
                  <a:pt x="402" y="15419"/>
                </a:lnTo>
                <a:lnTo>
                  <a:pt x="458" y="15483"/>
                </a:lnTo>
                <a:lnTo>
                  <a:pt x="516" y="15543"/>
                </a:lnTo>
                <a:lnTo>
                  <a:pt x="577" y="15601"/>
                </a:lnTo>
                <a:lnTo>
                  <a:pt x="642" y="15657"/>
                </a:lnTo>
                <a:lnTo>
                  <a:pt x="708" y="15709"/>
                </a:lnTo>
                <a:lnTo>
                  <a:pt x="778" y="15758"/>
                </a:lnTo>
                <a:lnTo>
                  <a:pt x="849" y="15804"/>
                </a:lnTo>
                <a:lnTo>
                  <a:pt x="922" y="15846"/>
                </a:lnTo>
                <a:lnTo>
                  <a:pt x="999" y="15884"/>
                </a:lnTo>
                <a:lnTo>
                  <a:pt x="1076" y="15919"/>
                </a:lnTo>
                <a:lnTo>
                  <a:pt x="1157" y="15952"/>
                </a:lnTo>
                <a:lnTo>
                  <a:pt x="1238" y="15979"/>
                </a:lnTo>
                <a:lnTo>
                  <a:pt x="1323" y="16003"/>
                </a:lnTo>
                <a:lnTo>
                  <a:pt x="1407" y="16022"/>
                </a:lnTo>
                <a:lnTo>
                  <a:pt x="1495" y="16038"/>
                </a:lnTo>
                <a:lnTo>
                  <a:pt x="1582" y="16049"/>
                </a:lnTo>
                <a:lnTo>
                  <a:pt x="1672" y="16056"/>
                </a:lnTo>
                <a:lnTo>
                  <a:pt x="1763" y="16058"/>
                </a:lnTo>
                <a:lnTo>
                  <a:pt x="1801" y="16057"/>
                </a:lnTo>
                <a:lnTo>
                  <a:pt x="1843" y="16054"/>
                </a:lnTo>
                <a:lnTo>
                  <a:pt x="1887" y="16049"/>
                </a:lnTo>
                <a:lnTo>
                  <a:pt x="1933" y="16044"/>
                </a:lnTo>
                <a:lnTo>
                  <a:pt x="1981" y="16037"/>
                </a:lnTo>
                <a:lnTo>
                  <a:pt x="2028" y="16029"/>
                </a:lnTo>
                <a:lnTo>
                  <a:pt x="2075" y="16020"/>
                </a:lnTo>
                <a:lnTo>
                  <a:pt x="2122" y="16012"/>
                </a:lnTo>
                <a:lnTo>
                  <a:pt x="2205" y="15995"/>
                </a:lnTo>
                <a:lnTo>
                  <a:pt x="2275" y="15980"/>
                </a:lnTo>
                <a:lnTo>
                  <a:pt x="2324" y="15969"/>
                </a:lnTo>
                <a:lnTo>
                  <a:pt x="2345" y="15964"/>
                </a:lnTo>
                <a:lnTo>
                  <a:pt x="6609" y="14846"/>
                </a:lnTo>
                <a:lnTo>
                  <a:pt x="6669" y="14827"/>
                </a:lnTo>
                <a:lnTo>
                  <a:pt x="6729" y="14805"/>
                </a:lnTo>
                <a:lnTo>
                  <a:pt x="6788" y="14783"/>
                </a:lnTo>
                <a:lnTo>
                  <a:pt x="6845" y="14759"/>
                </a:lnTo>
                <a:lnTo>
                  <a:pt x="6903" y="14733"/>
                </a:lnTo>
                <a:lnTo>
                  <a:pt x="6960" y="14705"/>
                </a:lnTo>
                <a:lnTo>
                  <a:pt x="7015" y="14675"/>
                </a:lnTo>
                <a:lnTo>
                  <a:pt x="7070" y="14644"/>
                </a:lnTo>
                <a:lnTo>
                  <a:pt x="7123" y="14612"/>
                </a:lnTo>
                <a:lnTo>
                  <a:pt x="7175" y="14577"/>
                </a:lnTo>
                <a:lnTo>
                  <a:pt x="7227" y="14541"/>
                </a:lnTo>
                <a:lnTo>
                  <a:pt x="7277" y="14502"/>
                </a:lnTo>
                <a:lnTo>
                  <a:pt x="7326" y="14463"/>
                </a:lnTo>
                <a:lnTo>
                  <a:pt x="7375" y="14422"/>
                </a:lnTo>
                <a:lnTo>
                  <a:pt x="7421" y="14380"/>
                </a:lnTo>
                <a:lnTo>
                  <a:pt x="7466" y="14336"/>
                </a:lnTo>
                <a:lnTo>
                  <a:pt x="15143" y="6617"/>
                </a:lnTo>
                <a:lnTo>
                  <a:pt x="15270" y="6483"/>
                </a:lnTo>
                <a:lnTo>
                  <a:pt x="15387" y="6344"/>
                </a:lnTo>
                <a:lnTo>
                  <a:pt x="15495" y="6200"/>
                </a:lnTo>
                <a:lnTo>
                  <a:pt x="15594" y="6053"/>
                </a:lnTo>
                <a:lnTo>
                  <a:pt x="15685" y="5900"/>
                </a:lnTo>
                <a:lnTo>
                  <a:pt x="15766" y="5744"/>
                </a:lnTo>
                <a:lnTo>
                  <a:pt x="15837" y="5584"/>
                </a:lnTo>
                <a:lnTo>
                  <a:pt x="15901" y="5421"/>
                </a:lnTo>
                <a:lnTo>
                  <a:pt x="15955" y="5254"/>
                </a:lnTo>
                <a:lnTo>
                  <a:pt x="16000" y="5084"/>
                </a:lnTo>
                <a:lnTo>
                  <a:pt x="16037" y="4913"/>
                </a:lnTo>
                <a:lnTo>
                  <a:pt x="16065" y="4739"/>
                </a:lnTo>
                <a:lnTo>
                  <a:pt x="16083" y="4563"/>
                </a:lnTo>
                <a:lnTo>
                  <a:pt x="16093" y="4387"/>
                </a:lnTo>
                <a:lnTo>
                  <a:pt x="16094" y="4208"/>
                </a:lnTo>
                <a:lnTo>
                  <a:pt x="16087" y="4030"/>
                </a:lnTo>
                <a:lnTo>
                  <a:pt x="16070" y="3850"/>
                </a:lnTo>
                <a:lnTo>
                  <a:pt x="16045" y="3669"/>
                </a:lnTo>
                <a:lnTo>
                  <a:pt x="16011" y="3490"/>
                </a:lnTo>
                <a:lnTo>
                  <a:pt x="15968" y="3310"/>
                </a:lnTo>
                <a:lnTo>
                  <a:pt x="15917" y="3131"/>
                </a:lnTo>
                <a:lnTo>
                  <a:pt x="15857" y="2953"/>
                </a:lnTo>
                <a:lnTo>
                  <a:pt x="15788" y="2776"/>
                </a:lnTo>
                <a:lnTo>
                  <a:pt x="15711" y="2601"/>
                </a:lnTo>
                <a:lnTo>
                  <a:pt x="15625" y="2428"/>
                </a:lnTo>
                <a:lnTo>
                  <a:pt x="15531" y="2257"/>
                </a:lnTo>
                <a:lnTo>
                  <a:pt x="15428" y="2089"/>
                </a:lnTo>
                <a:lnTo>
                  <a:pt x="15316" y="1923"/>
                </a:lnTo>
                <a:lnTo>
                  <a:pt x="15196" y="1760"/>
                </a:lnTo>
                <a:lnTo>
                  <a:pt x="15067" y="1602"/>
                </a:lnTo>
                <a:lnTo>
                  <a:pt x="14930" y="1446"/>
                </a:lnTo>
                <a:lnTo>
                  <a:pt x="14785" y="1295"/>
                </a:ln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id-ID"/>
          </a:p>
        </p:txBody>
      </p:sp>
      <p:grpSp>
        <p:nvGrpSpPr>
          <p:cNvPr id="16" name="组合 15"/>
          <p:cNvGrpSpPr/>
          <p:nvPr/>
        </p:nvGrpSpPr>
        <p:grpSpPr>
          <a:xfrm>
            <a:off x="3361690" y="854075"/>
            <a:ext cx="4247515" cy="1621790"/>
            <a:chOff x="5294" y="1345"/>
            <a:chExt cx="6689" cy="2554"/>
          </a:xfrm>
        </p:grpSpPr>
        <p:sp>
          <p:nvSpPr>
            <p:cNvPr id="73" name="TextBox 72"/>
            <p:cNvSpPr txBox="1"/>
            <p:nvPr>
              <p:custDataLst>
                <p:tags r:id="rId29"/>
              </p:custDataLst>
            </p:nvPr>
          </p:nvSpPr>
          <p:spPr>
            <a:xfrm>
              <a:off x="5294" y="3099"/>
              <a:ext cx="6689" cy="800"/>
            </a:xfrm>
            <a:prstGeom prst="rect">
              <a:avLst/>
            </a:prstGeom>
            <a:noFill/>
          </p:spPr>
          <p:txBody>
            <a:bodyPr wrap="square" tIns="0" rtlCol="0"/>
            <a:p>
              <a:pPr marL="190500" indent="-190500" algn="l" defTabSz="762000" eaLnBrk="0" hangingPunct="0">
                <a:lnSpc>
                  <a:spcPct val="90000"/>
                </a:lnSpc>
                <a:buClrTx/>
                <a:buSzTx/>
                <a:buFontTx/>
              </a:pPr>
              <a:r>
                <a:rPr lang="zh-CN" altLang="en-US" b="1" dirty="0">
                  <a:solidFill>
                    <a:schemeClr val="bg1"/>
                  </a:solidFill>
                  <a:latin typeface="+mn-ea"/>
                  <a:cs typeface="+mn-ea"/>
                  <a:sym typeface="+mn-ea"/>
                </a:rPr>
                <a:t>家庭菜篮一键下单，与生态农园合作，开发每周送菜业务，追溯上游利润</a:t>
              </a:r>
              <a:endParaRPr lang="zh-CN" altLang="en-US" b="1" spc="150" dirty="0">
                <a:solidFill>
                  <a:schemeClr val="bg1"/>
                </a:solidFill>
                <a:latin typeface="+mn-ea"/>
                <a:ea typeface="微软雅黑" panose="020B0503020204020204" pitchFamily="34" charset="-122"/>
                <a:cs typeface="+mn-ea"/>
                <a:sym typeface="+mn-ea"/>
              </a:endParaRPr>
            </a:p>
          </p:txBody>
        </p:sp>
        <p:pic>
          <p:nvPicPr>
            <p:cNvPr id="8" name="图片 7" descr="ba3-1024x768[1]"/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7318" y="1345"/>
              <a:ext cx="2075" cy="1556"/>
            </a:xfrm>
            <a:prstGeom prst="rect">
              <a:avLst/>
            </a:prstGeom>
          </p:spPr>
        </p:pic>
      </p:grpSp>
      <p:grpSp>
        <p:nvGrpSpPr>
          <p:cNvPr id="14" name="组合 13"/>
          <p:cNvGrpSpPr/>
          <p:nvPr/>
        </p:nvGrpSpPr>
        <p:grpSpPr>
          <a:xfrm>
            <a:off x="904875" y="4448175"/>
            <a:ext cx="3786505" cy="1936750"/>
            <a:chOff x="1425" y="7005"/>
            <a:chExt cx="5963" cy="3050"/>
          </a:xfrm>
        </p:grpSpPr>
        <p:sp>
          <p:nvSpPr>
            <p:cNvPr id="38" name="TextBox 37"/>
            <p:cNvSpPr txBox="1"/>
            <p:nvPr>
              <p:custDataLst>
                <p:tags r:id="rId31"/>
              </p:custDataLst>
            </p:nvPr>
          </p:nvSpPr>
          <p:spPr>
            <a:xfrm>
              <a:off x="1425" y="7005"/>
              <a:ext cx="5522" cy="800"/>
            </a:xfrm>
            <a:prstGeom prst="rect">
              <a:avLst/>
            </a:prstGeom>
            <a:noFill/>
          </p:spPr>
          <p:txBody>
            <a:bodyPr wrap="square" tIns="0" rtlCol="0"/>
            <a:p>
              <a:pPr marL="190500" indent="-190500" algn="r" defTabSz="762000" eaLnBrk="0" hangingPunct="0">
                <a:lnSpc>
                  <a:spcPct val="90000"/>
                </a:lnSpc>
                <a:buClrTx/>
                <a:buSzTx/>
                <a:buFontTx/>
              </a:pPr>
              <a:r>
                <a:rPr lang="zh-CN" altLang="en-US" sz="2000" b="1" dirty="0">
                  <a:solidFill>
                    <a:schemeClr val="bg1"/>
                  </a:solidFill>
                  <a:latin typeface="+mn-ea"/>
                  <a:cs typeface="+mn-ea"/>
                  <a:sym typeface="+mn-ea"/>
                </a:rPr>
                <a:t>“食研基地 ”</a:t>
              </a:r>
              <a:endParaRPr lang="zh-CN" altLang="en-US" sz="2000" b="1" dirty="0">
                <a:solidFill>
                  <a:schemeClr val="bg1"/>
                </a:solidFill>
                <a:latin typeface="+mn-ea"/>
                <a:cs typeface="+mn-ea"/>
              </a:endParaRPr>
            </a:p>
            <a:p>
              <a:pPr marL="190500" indent="-190500" algn="r" defTabSz="762000" eaLnBrk="0" hangingPunct="0">
                <a:lnSpc>
                  <a:spcPct val="90000"/>
                </a:lnSpc>
                <a:buClrTx/>
                <a:buSzTx/>
                <a:buFontTx/>
              </a:pPr>
              <a:r>
                <a:rPr lang="zh-CN" altLang="en-US" sz="2000" b="1" dirty="0">
                  <a:solidFill>
                    <a:schemeClr val="bg1"/>
                  </a:solidFill>
                  <a:latin typeface="+mn-ea"/>
                  <a:cs typeface="+mn-ea"/>
                  <a:sym typeface="+mn-ea"/>
                </a:rPr>
                <a:t>“功能性饮食创新坊”</a:t>
              </a:r>
              <a:endParaRPr lang="zh-CN" altLang="en-US" sz="2000" b="1" dirty="0">
                <a:solidFill>
                  <a:schemeClr val="bg1"/>
                </a:solidFill>
                <a:latin typeface="+mn-ea"/>
                <a:cs typeface="+mn-ea"/>
              </a:endParaRPr>
            </a:p>
            <a:p>
              <a:pPr marL="190500" indent="-190500" algn="r" defTabSz="762000" eaLnBrk="0" hangingPunct="0">
                <a:lnSpc>
                  <a:spcPct val="90000"/>
                </a:lnSpc>
                <a:buClrTx/>
                <a:buSzTx/>
                <a:buFontTx/>
              </a:pPr>
              <a:r>
                <a:rPr lang="zh-CN" altLang="en-US" sz="2000" b="1" dirty="0">
                  <a:solidFill>
                    <a:schemeClr val="bg1"/>
                  </a:solidFill>
                  <a:latin typeface="+mn-ea"/>
                  <a:cs typeface="+mn-ea"/>
                  <a:sym typeface="+mn-ea"/>
                </a:rPr>
                <a:t>都市人群周末私厨教学</a:t>
              </a:r>
              <a:endParaRPr lang="zh-CN" altLang="en-US" sz="2000" b="1" spc="150" dirty="0">
                <a:solidFill>
                  <a:schemeClr val="bg1"/>
                </a:solidFill>
                <a:latin typeface="+mn-ea"/>
                <a:ea typeface="微软雅黑" panose="020B0503020204020204" pitchFamily="34" charset="-122"/>
                <a:cs typeface="+mn-ea"/>
                <a:sym typeface="+mn-ea"/>
              </a:endParaRPr>
            </a:p>
          </p:txBody>
        </p:sp>
        <p:grpSp>
          <p:nvGrpSpPr>
            <p:cNvPr id="13" name="组合 12"/>
            <p:cNvGrpSpPr/>
            <p:nvPr/>
          </p:nvGrpSpPr>
          <p:grpSpPr>
            <a:xfrm>
              <a:off x="2006" y="8413"/>
              <a:ext cx="5382" cy="1643"/>
              <a:chOff x="968" y="8787"/>
              <a:chExt cx="5382" cy="1643"/>
            </a:xfrm>
          </p:grpSpPr>
          <p:pic>
            <p:nvPicPr>
              <p:cNvPr id="3" name="图片 2" descr="timgNNLIUMY2"/>
              <p:cNvPicPr>
                <a:picLocks noChangeAspect="1"/>
              </p:cNvPicPr>
              <p:nvPr/>
            </p:nvPicPr>
            <p:blipFill>
              <a:blip r:embed="rId32"/>
              <a:srcRect l="1780" t="4709" r="1780" b="5618"/>
              <a:stretch>
                <a:fillRect/>
              </a:stretch>
            </p:blipFill>
            <p:spPr>
              <a:xfrm>
                <a:off x="3604" y="8812"/>
                <a:ext cx="2746" cy="1618"/>
              </a:xfrm>
              <a:prstGeom prst="rect">
                <a:avLst/>
              </a:prstGeom>
            </p:spPr>
          </p:pic>
          <p:pic>
            <p:nvPicPr>
              <p:cNvPr id="9" name="图片 8"/>
              <p:cNvPicPr>
                <a:picLocks noChangeAspect="1"/>
              </p:cNvPicPr>
              <p:nvPr/>
            </p:nvPicPr>
            <p:blipFill>
              <a:blip r:embed="rId33"/>
              <a:stretch>
                <a:fillRect/>
              </a:stretch>
            </p:blipFill>
            <p:spPr>
              <a:xfrm>
                <a:off x="968" y="8787"/>
                <a:ext cx="2465" cy="1643"/>
              </a:xfrm>
              <a:prstGeom prst="rect">
                <a:avLst/>
              </a:prstGeom>
            </p:spPr>
          </p:pic>
        </p:grpSp>
      </p:grpSp>
      <p:grpSp>
        <p:nvGrpSpPr>
          <p:cNvPr id="15" name="组合 14"/>
          <p:cNvGrpSpPr/>
          <p:nvPr/>
        </p:nvGrpSpPr>
        <p:grpSpPr>
          <a:xfrm>
            <a:off x="187960" y="3014980"/>
            <a:ext cx="5532755" cy="1002030"/>
            <a:chOff x="296" y="4748"/>
            <a:chExt cx="8713" cy="1578"/>
          </a:xfrm>
        </p:grpSpPr>
        <p:sp>
          <p:nvSpPr>
            <p:cNvPr id="67" name="TextBox 66"/>
            <p:cNvSpPr txBox="1"/>
            <p:nvPr>
              <p:custDataLst>
                <p:tags r:id="rId34"/>
              </p:custDataLst>
            </p:nvPr>
          </p:nvSpPr>
          <p:spPr>
            <a:xfrm>
              <a:off x="2273" y="4748"/>
              <a:ext cx="6736" cy="800"/>
            </a:xfrm>
            <a:prstGeom prst="rect">
              <a:avLst/>
            </a:prstGeom>
            <a:noFill/>
          </p:spPr>
          <p:txBody>
            <a:bodyPr wrap="square" tIns="0" rtlCol="0"/>
            <a:p>
              <a:pPr algn="r">
                <a:lnSpc>
                  <a:spcPct val="120000"/>
                </a:lnSpc>
              </a:pPr>
              <a:r>
                <a:rPr lang="zh-CN" altLang="en-US" b="1" dirty="0">
                  <a:solidFill>
                    <a:schemeClr val="bg1"/>
                  </a:solidFill>
                  <a:latin typeface="+mn-ea"/>
                  <a:cs typeface="+mn-ea"/>
                  <a:sym typeface="+mn-ea"/>
                </a:rPr>
                <a:t>人工智能美食家：结合各国菜系风味、营养搭配和指定健康需求，制作</a:t>
              </a:r>
              <a:r>
                <a:rPr lang="en-US" altLang="zh-CN" b="1" dirty="0">
                  <a:solidFill>
                    <a:schemeClr val="bg1"/>
                  </a:solidFill>
                  <a:latin typeface="+mn-ea"/>
                  <a:cs typeface="+mn-ea"/>
                  <a:sym typeface="+mn-ea"/>
                </a:rPr>
                <a:t>AI</a:t>
              </a:r>
              <a:r>
                <a:rPr lang="zh-CN" altLang="en-US" b="1" dirty="0">
                  <a:solidFill>
                    <a:schemeClr val="bg1"/>
                  </a:solidFill>
                  <a:latin typeface="+mn-ea"/>
                  <a:cs typeface="+mn-ea"/>
                  <a:sym typeface="+mn-ea"/>
                </a:rPr>
                <a:t>创作的全新菜品，集结《</a:t>
              </a:r>
              <a:r>
                <a:rPr lang="en-US" altLang="zh-CN" b="1" dirty="0">
                  <a:solidFill>
                    <a:schemeClr val="bg1"/>
                  </a:solidFill>
                  <a:latin typeface="+mn-ea"/>
                  <a:cs typeface="+mn-ea"/>
                  <a:sym typeface="+mn-ea"/>
                </a:rPr>
                <a:t>AI</a:t>
              </a:r>
              <a:r>
                <a:rPr lang="zh-CN" altLang="en-US" b="1" dirty="0">
                  <a:solidFill>
                    <a:schemeClr val="bg1"/>
                  </a:solidFill>
                  <a:latin typeface="+mn-ea"/>
                  <a:cs typeface="+mn-ea"/>
                  <a:sym typeface="+mn-ea"/>
                </a:rPr>
                <a:t>食谱》（版权）</a:t>
              </a:r>
              <a:endParaRPr lang="zh-CN" altLang="en-US" b="1" dirty="0">
                <a:solidFill>
                  <a:schemeClr val="bg1"/>
                </a:solidFill>
                <a:latin typeface="+mn-ea"/>
                <a:cs typeface="+mn-ea"/>
                <a:sym typeface="+mn-ea"/>
              </a:endParaRPr>
            </a:p>
            <a:p>
              <a:pPr algn="r">
                <a:lnSpc>
                  <a:spcPct val="120000"/>
                </a:lnSpc>
              </a:pPr>
              <a:endParaRPr lang="zh-CN" altLang="en-US" b="1" spc="150" dirty="0">
                <a:solidFill>
                  <a:schemeClr val="bg1"/>
                </a:solidFill>
                <a:latin typeface="+mn-ea"/>
                <a:ea typeface="微软雅黑" panose="020B0503020204020204" pitchFamily="34" charset="-122"/>
                <a:cs typeface="+mn-ea"/>
                <a:sym typeface="+mn-ea"/>
              </a:endParaRPr>
            </a:p>
          </p:txBody>
        </p:sp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35"/>
            <a:stretch>
              <a:fillRect/>
            </a:stretch>
          </p:blipFill>
          <p:spPr>
            <a:xfrm>
              <a:off x="296" y="4866"/>
              <a:ext cx="2147" cy="1460"/>
            </a:xfrm>
            <a:prstGeom prst="rect">
              <a:avLst/>
            </a:prstGeom>
          </p:spPr>
        </p:pic>
      </p:grpSp>
    </p:spTree>
    <p:custDataLst>
      <p:tags r:id="rId36"/>
    </p:custDataLst>
  </p:cSld>
  <p:clrMapOvr>
    <a:masterClrMapping/>
  </p:clrMapOvr>
  <p:transition>
    <p:pull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ldLvl="0" animBg="1"/>
      <p:bldP spid="5" grpId="0" bldLvl="0" animBg="1"/>
      <p:bldP spid="6" grpId="0" bldLvl="0" animBg="1"/>
      <p:bldP spid="7" grpId="0" bldLvl="0" animBg="1"/>
      <p:bldP spid="24" grpId="0"/>
      <p:bldP spid="25" grpId="0"/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8517255" y="-15240"/>
            <a:ext cx="4564380" cy="6991350"/>
          </a:xfrm>
          <a:prstGeom prst="rect">
            <a:avLst/>
          </a:prstGeom>
          <a:solidFill>
            <a:schemeClr val="accent1"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24" name="Rectangle 51"/>
          <p:cNvSpPr/>
          <p:nvPr>
            <p:custDataLst>
              <p:tags r:id="rId2"/>
            </p:custDataLst>
          </p:nvPr>
        </p:nvSpPr>
        <p:spPr>
          <a:xfrm>
            <a:off x="2314575" y="1658620"/>
            <a:ext cx="1295400" cy="268605"/>
          </a:xfrm>
          <a:prstGeom prst="rect">
            <a:avLst/>
          </a:prstGeom>
          <a:noFill/>
          <a:ln w="12700">
            <a:noFill/>
          </a:ln>
        </p:spPr>
        <p:txBody>
          <a:bodyPr wrap="none" lIns="90000" rIns="90000" anchor="ctr"/>
          <a:p>
            <a:pPr algn="l" eaLnBrk="0" hangingPunct="0"/>
            <a:endParaRPr lang="de-DE" altLang="zh-CN" sz="1600" dirty="0">
              <a:latin typeface="Arial" panose="020B0604020202020204" pitchFamily="34" charset="0"/>
            </a:endParaRPr>
          </a:p>
        </p:txBody>
      </p:sp>
      <p:sp>
        <p:nvSpPr>
          <p:cNvPr id="125" name="Rectangle 52"/>
          <p:cNvSpPr/>
          <p:nvPr>
            <p:custDataLst>
              <p:tags r:id="rId3"/>
            </p:custDataLst>
          </p:nvPr>
        </p:nvSpPr>
        <p:spPr>
          <a:xfrm>
            <a:off x="5286375" y="1774825"/>
            <a:ext cx="1371600" cy="158750"/>
          </a:xfrm>
          <a:prstGeom prst="rect">
            <a:avLst/>
          </a:prstGeom>
          <a:noFill/>
          <a:ln w="12700">
            <a:noFill/>
          </a:ln>
        </p:spPr>
        <p:txBody>
          <a:bodyPr wrap="none" lIns="90000" rIns="90000" anchor="ctr"/>
          <a:p>
            <a:pPr algn="l" eaLnBrk="0" hangingPunct="0"/>
            <a:endParaRPr lang="de-DE" altLang="zh-CN" sz="1600" dirty="0">
              <a:latin typeface="Arial" panose="020B0604020202020204" pitchFamily="34" charset="0"/>
            </a:endParaRPr>
          </a:p>
        </p:txBody>
      </p:sp>
      <p:sp>
        <p:nvSpPr>
          <p:cNvPr id="126" name="Rectangle 53"/>
          <p:cNvSpPr/>
          <p:nvPr>
            <p:custDataLst>
              <p:tags r:id="rId4"/>
            </p:custDataLst>
          </p:nvPr>
        </p:nvSpPr>
        <p:spPr>
          <a:xfrm>
            <a:off x="6118225" y="2727325"/>
            <a:ext cx="1468120" cy="406400"/>
          </a:xfrm>
          <a:prstGeom prst="rect">
            <a:avLst/>
          </a:prstGeom>
          <a:noFill/>
          <a:ln w="12700">
            <a:noFill/>
          </a:ln>
        </p:spPr>
        <p:txBody>
          <a:bodyPr wrap="none" lIns="90000" rIns="90000" anchor="ctr"/>
          <a:p>
            <a:pPr algn="l" eaLnBrk="0" hangingPunct="0"/>
            <a:endParaRPr lang="de-DE" altLang="zh-CN" sz="1600" dirty="0">
              <a:latin typeface="Arial" panose="020B0604020202020204" pitchFamily="34" charset="0"/>
            </a:endParaRPr>
          </a:p>
        </p:txBody>
      </p:sp>
      <p:sp>
        <p:nvSpPr>
          <p:cNvPr id="127" name="Rectangle 54"/>
          <p:cNvSpPr/>
          <p:nvPr>
            <p:custDataLst>
              <p:tags r:id="rId5"/>
            </p:custDataLst>
          </p:nvPr>
        </p:nvSpPr>
        <p:spPr>
          <a:xfrm>
            <a:off x="6238875" y="3222625"/>
            <a:ext cx="1252220" cy="273050"/>
          </a:xfrm>
          <a:prstGeom prst="rect">
            <a:avLst/>
          </a:prstGeom>
          <a:noFill/>
          <a:ln w="12700">
            <a:noFill/>
          </a:ln>
        </p:spPr>
        <p:txBody>
          <a:bodyPr wrap="none" lIns="90000" rIns="90000" anchor="ctr"/>
          <a:p>
            <a:pPr algn="l" eaLnBrk="0" hangingPunct="0"/>
            <a:endParaRPr lang="de-DE" altLang="zh-CN" sz="1600" dirty="0">
              <a:latin typeface="Arial" panose="020B0604020202020204" pitchFamily="34" charset="0"/>
            </a:endParaRPr>
          </a:p>
        </p:txBody>
      </p:sp>
      <p:sp>
        <p:nvSpPr>
          <p:cNvPr id="128" name="Rectangle 55"/>
          <p:cNvSpPr/>
          <p:nvPr>
            <p:custDataLst>
              <p:tags r:id="rId6"/>
            </p:custDataLst>
          </p:nvPr>
        </p:nvSpPr>
        <p:spPr>
          <a:xfrm>
            <a:off x="4651375" y="5356225"/>
            <a:ext cx="1143000" cy="369570"/>
          </a:xfrm>
          <a:prstGeom prst="rect">
            <a:avLst/>
          </a:prstGeom>
          <a:noFill/>
          <a:ln w="12700">
            <a:noFill/>
          </a:ln>
        </p:spPr>
        <p:txBody>
          <a:bodyPr wrap="none" lIns="90000" rIns="90000" anchor="ctr"/>
          <a:p>
            <a:pPr algn="l" eaLnBrk="0" hangingPunct="0"/>
            <a:endParaRPr lang="de-DE" altLang="zh-CN" sz="1600" dirty="0">
              <a:latin typeface="Arial" panose="020B0604020202020204" pitchFamily="34" charset="0"/>
            </a:endParaRPr>
          </a:p>
        </p:txBody>
      </p:sp>
      <p:sp>
        <p:nvSpPr>
          <p:cNvPr id="129" name="Rectangle 56"/>
          <p:cNvSpPr/>
          <p:nvPr>
            <p:custDataLst>
              <p:tags r:id="rId7"/>
            </p:custDataLst>
          </p:nvPr>
        </p:nvSpPr>
        <p:spPr>
          <a:xfrm>
            <a:off x="1527175" y="3693795"/>
            <a:ext cx="1092200" cy="268605"/>
          </a:xfrm>
          <a:prstGeom prst="rect">
            <a:avLst/>
          </a:prstGeom>
          <a:noFill/>
          <a:ln w="12700">
            <a:noFill/>
          </a:ln>
        </p:spPr>
        <p:txBody>
          <a:bodyPr wrap="none" lIns="90000" rIns="90000" anchor="ctr"/>
          <a:p>
            <a:pPr algn="l" eaLnBrk="0" hangingPunct="0"/>
            <a:endParaRPr lang="de-DE" altLang="zh-CN" sz="1600" dirty="0">
              <a:latin typeface="Arial" panose="020B0604020202020204" pitchFamily="34" charset="0"/>
            </a:endParaRPr>
          </a:p>
        </p:txBody>
      </p:sp>
      <p:sp>
        <p:nvSpPr>
          <p:cNvPr id="130" name="Rectangle 57"/>
          <p:cNvSpPr/>
          <p:nvPr>
            <p:custDataLst>
              <p:tags r:id="rId8"/>
            </p:custDataLst>
          </p:nvPr>
        </p:nvSpPr>
        <p:spPr>
          <a:xfrm>
            <a:off x="895350" y="3646170"/>
            <a:ext cx="1524000" cy="220345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p>
            <a:pPr marL="190500" indent="-190500" algn="r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13  “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健康饮食 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· 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寿命积分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小程序小游戏，病毒式传播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1" name="Rectangle 60"/>
          <p:cNvSpPr/>
          <p:nvPr>
            <p:custDataLst>
              <p:tags r:id="rId9"/>
            </p:custDataLst>
          </p:nvPr>
        </p:nvSpPr>
        <p:spPr>
          <a:xfrm>
            <a:off x="4766310" y="1416050"/>
            <a:ext cx="1537970" cy="33083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</a:rPr>
              <a:t>1 	</a:t>
            </a:r>
            <a:r>
              <a:rPr lang="en-US" altLang="zh-CN" sz="8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10</a:t>
            </a:r>
            <a:r>
              <a:rPr lang="zh-CN" altLang="en-US" sz="8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个针对白领高发健康问题的</a:t>
            </a:r>
            <a:r>
              <a:rPr lang="zh-CN" altLang="en-US" sz="800" b="1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主题</a:t>
            </a:r>
            <a:r>
              <a:rPr lang="en-US" altLang="zh-CN" sz="800" b="1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meal-prep</a:t>
            </a:r>
            <a:r>
              <a:rPr lang="zh-CN" altLang="en-US" sz="8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，如 </a:t>
            </a:r>
            <a:r>
              <a:rPr lang="en-US" altLang="zh-CN" sz="8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“</a:t>
            </a:r>
            <a:r>
              <a:rPr lang="zh-CN" altLang="en-US" sz="8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我没有秃</a:t>
            </a:r>
            <a:r>
              <a:rPr lang="en-US" altLang="zh-CN" sz="8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”</a:t>
            </a:r>
            <a:endParaRPr lang="en-US" altLang="zh-CN" sz="800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</a:rPr>
              <a:t> </a:t>
            </a:r>
            <a:endParaRPr lang="en-US" altLang="zh-CN" sz="800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2" name="Rectangle 61"/>
          <p:cNvSpPr/>
          <p:nvPr>
            <p:custDataLst>
              <p:tags r:id="rId10"/>
            </p:custDataLst>
          </p:nvPr>
        </p:nvSpPr>
        <p:spPr>
          <a:xfrm>
            <a:off x="5537835" y="1882140"/>
            <a:ext cx="2197735" cy="10985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2 	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轻食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&amp;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茶饮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方便食品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淘宝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/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超市零售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3" name="Rectangle 62"/>
          <p:cNvSpPr/>
          <p:nvPr>
            <p:custDataLst>
              <p:tags r:id="rId11"/>
            </p:custDataLst>
          </p:nvPr>
        </p:nvSpPr>
        <p:spPr>
          <a:xfrm>
            <a:off x="5895975" y="2183765"/>
            <a:ext cx="2218690" cy="33083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</a:rPr>
              <a:t>3 	</a:t>
            </a:r>
            <a:r>
              <a:rPr lang="zh-CN" altLang="en-US" sz="8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特殊人群特色饮食供应，</a:t>
            </a:r>
            <a:r>
              <a:rPr lang="zh-CN" altLang="en-US" sz="800" b="1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如月子餐、糖友餐</a:t>
            </a:r>
            <a:r>
              <a:rPr lang="zh-CN" altLang="en-US" sz="8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、健身餐，与其他机构合作，占领细分市场</a:t>
            </a:r>
            <a:endParaRPr lang="zh-CN" altLang="en-US" sz="800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42875" indent="-142875" algn="l" defTabSz="762000" eaLnBrk="0" hangingPunct="0">
              <a:lnSpc>
                <a:spcPct val="90000"/>
              </a:lnSpc>
            </a:pPr>
            <a:endParaRPr lang="zh-CN" altLang="en-US" sz="800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4" name="Rectangle 63"/>
          <p:cNvSpPr/>
          <p:nvPr>
            <p:custDataLst>
              <p:tags r:id="rId12"/>
            </p:custDataLst>
          </p:nvPr>
        </p:nvSpPr>
        <p:spPr>
          <a:xfrm>
            <a:off x="6257925" y="2727325"/>
            <a:ext cx="1826895" cy="440690"/>
          </a:xfrm>
          <a:prstGeom prst="rect">
            <a:avLst/>
          </a:prstGeom>
          <a:noFill/>
          <a:ln w="9525">
            <a:solidFill>
              <a:srgbClr val="DC6E00"/>
            </a:solidFill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solidFill>
                  <a:srgbClr val="DC6E00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4 	</a:t>
            </a:r>
            <a:r>
              <a:rPr lang="zh-CN" altLang="en-US" sz="800" dirty="0">
                <a:solidFill>
                  <a:srgbClr val="DC6E00"/>
                </a:solidFill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大数据饮食规划平台上线：只要注册会员，就能</a:t>
            </a:r>
            <a:r>
              <a:rPr lang="zh-CN" altLang="en-US" sz="800" b="1" dirty="0">
                <a:solidFill>
                  <a:srgbClr val="DC6E00"/>
                </a:solidFill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永久免费定制私人菜单</a:t>
            </a:r>
            <a:r>
              <a:rPr lang="zh-CN" altLang="en-US" sz="800" dirty="0">
                <a:solidFill>
                  <a:srgbClr val="DC6E00"/>
                </a:solidFill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，人工智能营养师</a:t>
            </a:r>
            <a:endParaRPr lang="zh-CN" altLang="en-US" sz="800" dirty="0">
              <a:solidFill>
                <a:srgbClr val="DC6E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42875" indent="-142875" algn="l" defTabSz="762000" eaLnBrk="0" hangingPunct="0">
              <a:lnSpc>
                <a:spcPct val="90000"/>
              </a:lnSpc>
            </a:pPr>
            <a:endParaRPr lang="zh-CN" altLang="en-US" sz="800" dirty="0">
              <a:solidFill>
                <a:srgbClr val="DC6E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5" name="Rectangle 64"/>
          <p:cNvSpPr/>
          <p:nvPr>
            <p:custDataLst>
              <p:tags r:id="rId13"/>
            </p:custDataLst>
          </p:nvPr>
        </p:nvSpPr>
        <p:spPr>
          <a:xfrm>
            <a:off x="6369050" y="3222625"/>
            <a:ext cx="1676400" cy="33083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5  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会员追踪式饮食管理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：食疗顾问、送餐服务、健康小贴士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	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6" name="Rectangle 65"/>
          <p:cNvSpPr/>
          <p:nvPr>
            <p:custDataLst>
              <p:tags r:id="rId14"/>
            </p:custDataLst>
          </p:nvPr>
        </p:nvSpPr>
        <p:spPr>
          <a:xfrm>
            <a:off x="6304280" y="3646170"/>
            <a:ext cx="1590675" cy="330835"/>
          </a:xfrm>
          <a:prstGeom prst="rect">
            <a:avLst/>
          </a:prstGeom>
          <a:noFill/>
          <a:ln w="9525">
            <a:solidFill>
              <a:srgbClr val="DC6E00"/>
            </a:solidFill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ln>
                  <a:noFill/>
                </a:ln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</a:rPr>
              <a:t>6 	</a:t>
            </a:r>
            <a:r>
              <a:rPr lang="zh-CN" altLang="en-US" sz="800" dirty="0">
                <a:ln>
                  <a:noFill/>
                </a:ln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打造</a:t>
            </a:r>
            <a:r>
              <a:rPr lang="zh-CN" altLang="en-US" sz="800" b="1" dirty="0">
                <a:ln>
                  <a:noFill/>
                </a:ln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自媒体</a:t>
            </a:r>
            <a:r>
              <a:rPr lang="zh-CN" altLang="en-US" sz="800" dirty="0">
                <a:ln>
                  <a:noFill/>
                </a:ln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：优质营养学</a:t>
            </a:r>
            <a:r>
              <a:rPr lang="en-US" altLang="zh-CN" sz="800" dirty="0">
                <a:ln>
                  <a:noFill/>
                </a:ln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+</a:t>
            </a:r>
            <a:r>
              <a:rPr lang="zh-CN" altLang="en-US" sz="800" dirty="0">
                <a:ln>
                  <a:noFill/>
                </a:ln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中医</a:t>
            </a:r>
            <a:r>
              <a:rPr lang="zh-CN" altLang="en-US" sz="800" b="1" dirty="0">
                <a:ln>
                  <a:noFill/>
                </a:ln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科普干货文章</a:t>
            </a:r>
            <a:r>
              <a:rPr lang="zh-CN" altLang="en-US" sz="800" dirty="0">
                <a:ln>
                  <a:noFill/>
                </a:ln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，带流量</a:t>
            </a:r>
            <a:endParaRPr lang="zh-CN" altLang="en-US" sz="800" dirty="0">
              <a:ln>
                <a:noFill/>
              </a:ln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142875" indent="-142875" algn="l" defTabSz="762000" eaLnBrk="0" hangingPunct="0">
              <a:lnSpc>
                <a:spcPct val="90000"/>
              </a:lnSpc>
            </a:pPr>
            <a:endParaRPr lang="zh-CN" altLang="en-US" sz="800" dirty="0">
              <a:ln>
                <a:noFill/>
              </a:ln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7" name="Rectangle 66"/>
          <p:cNvSpPr/>
          <p:nvPr>
            <p:custDataLst>
              <p:tags r:id="rId15"/>
            </p:custDataLst>
          </p:nvPr>
        </p:nvSpPr>
        <p:spPr>
          <a:xfrm>
            <a:off x="6238875" y="4160520"/>
            <a:ext cx="1318895" cy="22034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</a:rPr>
              <a:t>7 	</a:t>
            </a:r>
            <a:r>
              <a:rPr lang="zh-CN" altLang="en-US" sz="8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网红</a:t>
            </a:r>
            <a:r>
              <a:rPr lang="en-US" altLang="zh-CN" sz="8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meal-prep</a:t>
            </a:r>
            <a:r>
              <a:rPr lang="zh-CN" altLang="en-US" sz="8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餐</a:t>
            </a:r>
            <a:r>
              <a:rPr lang="en-US" altLang="zh-CN" sz="8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&amp;</a:t>
            </a:r>
            <a:r>
              <a:rPr lang="zh-CN" altLang="en-US" sz="8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花果茶饮 </a:t>
            </a:r>
            <a:r>
              <a:rPr lang="zh-CN" altLang="en-US" sz="800" b="1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优质教学视频</a:t>
            </a:r>
            <a:endParaRPr lang="zh-CN" altLang="en-US" sz="800" b="1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8" name="Rectangle 69"/>
          <p:cNvSpPr/>
          <p:nvPr>
            <p:custDataLst>
              <p:tags r:id="rId16"/>
            </p:custDataLst>
          </p:nvPr>
        </p:nvSpPr>
        <p:spPr>
          <a:xfrm>
            <a:off x="5088255" y="5224145"/>
            <a:ext cx="1693545" cy="33083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9 	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利用视频积累，打造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厨艺领域的</a:t>
            </a:r>
            <a:r>
              <a:rPr lang="en-US" altLang="zh-CN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Keep app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，海量视频搜索推荐、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家庭厨房教练</a:t>
            </a:r>
            <a:endParaRPr lang="zh-CN" altLang="en-US" sz="800" b="1" dirty="0">
              <a:latin typeface="Arial" panose="020B0604020202020204" pitchFamily="34" charset="0"/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9" name="Rectangle 70"/>
          <p:cNvSpPr/>
          <p:nvPr>
            <p:custDataLst>
              <p:tags r:id="rId17"/>
            </p:custDataLst>
          </p:nvPr>
        </p:nvSpPr>
        <p:spPr>
          <a:xfrm>
            <a:off x="1256665" y="4818380"/>
            <a:ext cx="1957705" cy="330835"/>
          </a:xfrm>
          <a:prstGeom prst="rect">
            <a:avLst/>
          </a:prstGeom>
          <a:noFill/>
          <a:ln w="9525">
            <a:solidFill>
              <a:srgbClr val="DC6E00"/>
            </a:solidFill>
          </a:ln>
        </p:spPr>
        <p:txBody>
          <a:bodyPr wrap="square" lIns="0" tIns="0" rIns="0" bIns="0">
            <a:spAutoFit/>
          </a:bodyPr>
          <a:p>
            <a:pPr marL="190500" indent="-190500" algn="l" defTabSz="762000" eaLnBrk="0" hangingPunct="0">
              <a:lnSpc>
                <a:spcPct val="90000"/>
              </a:lnSpc>
            </a:pPr>
            <a:r>
              <a:rPr lang="en-US" altLang="zh-CN" sz="800" dirty="0">
                <a:solidFill>
                  <a:srgbClr val="DC6E00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11 	</a:t>
            </a:r>
            <a:r>
              <a:rPr lang="zh-CN" altLang="en-US" sz="800" b="1" dirty="0">
                <a:solidFill>
                  <a:srgbClr val="DC6E00"/>
                </a:solidFill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人工智能美食家</a:t>
            </a:r>
            <a:r>
              <a:rPr lang="zh-CN" altLang="en-US" sz="800" dirty="0">
                <a:solidFill>
                  <a:srgbClr val="DC6E00"/>
                </a:solidFill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，结合各国菜系风味、营养搭配和指定健康需求，制作全新菜品，集结</a:t>
            </a:r>
            <a:r>
              <a:rPr lang="zh-CN" altLang="en-US" sz="800" b="1" dirty="0">
                <a:solidFill>
                  <a:srgbClr val="DC6E00"/>
                </a:solidFill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《</a:t>
            </a:r>
            <a:r>
              <a:rPr lang="en-US" altLang="zh-CN" sz="800" b="1" dirty="0">
                <a:solidFill>
                  <a:srgbClr val="DC6E00"/>
                </a:solidFill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AI</a:t>
            </a:r>
            <a:r>
              <a:rPr lang="zh-CN" altLang="en-US" sz="800" b="1" dirty="0">
                <a:solidFill>
                  <a:srgbClr val="DC6E00"/>
                </a:solidFill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食谱》</a:t>
            </a:r>
            <a:r>
              <a:rPr lang="zh-CN" altLang="en-US" sz="800" dirty="0">
                <a:solidFill>
                  <a:srgbClr val="DC6E00"/>
                </a:solidFill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，形成</a:t>
            </a:r>
            <a:r>
              <a:rPr lang="zh-CN" altLang="en-US" sz="800" b="1" dirty="0">
                <a:solidFill>
                  <a:srgbClr val="DC6E00"/>
                </a:solidFill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版权</a:t>
            </a:r>
            <a:endParaRPr lang="zh-CN" altLang="en-US" sz="800" b="1" dirty="0">
              <a:solidFill>
                <a:srgbClr val="DC6E00"/>
              </a:solidFill>
              <a:latin typeface="Arial" panose="020B0604020202020204" pitchFamily="34" charset="0"/>
              <a:ea typeface="宋体" panose="02010600030101010101" pitchFamily="2" charset="-122"/>
              <a:sym typeface="+mn-ea"/>
            </a:endParaRPr>
          </a:p>
        </p:txBody>
      </p:sp>
      <p:sp>
        <p:nvSpPr>
          <p:cNvPr id="140" name="Rectangle 75"/>
          <p:cNvSpPr/>
          <p:nvPr>
            <p:custDataLst>
              <p:tags r:id="rId18"/>
            </p:custDataLst>
          </p:nvPr>
        </p:nvSpPr>
        <p:spPr>
          <a:xfrm>
            <a:off x="1164590" y="3258185"/>
            <a:ext cx="1219200" cy="109855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p>
            <a:pPr marL="190500" indent="-190500" algn="r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14 	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健康饮食习惯打卡社群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 </a:t>
            </a:r>
            <a:endParaRPr lang="en-US" altLang="zh-CN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41" name="Rectangle 76"/>
          <p:cNvSpPr/>
          <p:nvPr>
            <p:custDataLst>
              <p:tags r:id="rId19"/>
            </p:custDataLst>
          </p:nvPr>
        </p:nvSpPr>
        <p:spPr>
          <a:xfrm>
            <a:off x="1007745" y="2632710"/>
            <a:ext cx="1532890" cy="33083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90500" indent="-190500" algn="r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15 	 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家庭菜篮一键下单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，与生态农园合作，开发每周送菜务，追溯上游利润</a:t>
            </a:r>
            <a:endParaRPr lang="en-US" altLang="zh-CN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42" name="Rectangle 77"/>
          <p:cNvSpPr/>
          <p:nvPr>
            <p:custDataLst>
              <p:tags r:id="rId20"/>
            </p:custDataLst>
          </p:nvPr>
        </p:nvSpPr>
        <p:spPr>
          <a:xfrm>
            <a:off x="1527175" y="1991995"/>
            <a:ext cx="1461770" cy="22034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90500" indent="-190500" algn="r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16 	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采用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店铺加盟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方式，推广店面，形成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一线城市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店铺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网络</a:t>
            </a:r>
            <a:endParaRPr lang="zh-CN" altLang="en-US" sz="800" b="1" dirty="0">
              <a:latin typeface="Arial" panose="020B0604020202020204" pitchFamily="34" charset="0"/>
              <a:ea typeface="宋体" panose="02010600030101010101" pitchFamily="2" charset="-122"/>
              <a:sym typeface="+mn-ea"/>
            </a:endParaRPr>
          </a:p>
        </p:txBody>
      </p:sp>
      <p:sp>
        <p:nvSpPr>
          <p:cNvPr id="143" name="Rectangle 78"/>
          <p:cNvSpPr/>
          <p:nvPr>
            <p:custDataLst>
              <p:tags r:id="rId21"/>
            </p:custDataLst>
          </p:nvPr>
        </p:nvSpPr>
        <p:spPr>
          <a:xfrm>
            <a:off x="2665095" y="1461135"/>
            <a:ext cx="1411605" cy="22034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90500" indent="-190500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17 	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生态农园为全国网点供应新鲜食材，形成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</a:rPr>
              <a:t>闭环</a:t>
            </a:r>
            <a:endParaRPr lang="zh-CN" altLang="en-US" sz="800" b="1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45" name="Line 85"/>
          <p:cNvSpPr/>
          <p:nvPr>
            <p:custDataLst>
              <p:tags r:id="rId22"/>
            </p:custDataLst>
          </p:nvPr>
        </p:nvSpPr>
        <p:spPr>
          <a:xfrm>
            <a:off x="4362450" y="3522345"/>
            <a:ext cx="3055620" cy="1351280"/>
          </a:xfrm>
          <a:prstGeom prst="line">
            <a:avLst/>
          </a:prstGeom>
          <a:ln w="28575" cap="flat" cmpd="sng">
            <a:solidFill>
              <a:schemeClr val="bg2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146" name="Line 86"/>
          <p:cNvSpPr/>
          <p:nvPr>
            <p:custDataLst>
              <p:tags r:id="rId23"/>
            </p:custDataLst>
          </p:nvPr>
        </p:nvSpPr>
        <p:spPr>
          <a:xfrm flipH="1" flipV="1">
            <a:off x="4362450" y="969645"/>
            <a:ext cx="20320" cy="2568575"/>
          </a:xfrm>
          <a:prstGeom prst="line">
            <a:avLst/>
          </a:prstGeom>
          <a:ln w="28575" cap="flat" cmpd="sng">
            <a:solidFill>
              <a:schemeClr val="bg2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147" name="Rectangle 87"/>
          <p:cNvSpPr/>
          <p:nvPr>
            <p:custDataLst>
              <p:tags r:id="rId24"/>
            </p:custDataLst>
          </p:nvPr>
        </p:nvSpPr>
        <p:spPr>
          <a:xfrm>
            <a:off x="599440" y="4237355"/>
            <a:ext cx="2019935" cy="2203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square" lIns="0" tIns="0" rIns="0" bIns="0">
            <a:spAutoFit/>
          </a:bodyPr>
          <a:p>
            <a:pPr marL="190500" indent="-190500" algn="r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12 	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线下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</a:rPr>
              <a:t> </a:t>
            </a:r>
            <a:r>
              <a:rPr lang="en-US" altLang="zh-CN" sz="800" b="1" dirty="0">
                <a:latin typeface="Arial" panose="020B0604020202020204" pitchFamily="34" charset="0"/>
                <a:ea typeface="宋体" panose="02010600030101010101" pitchFamily="2" charset="-122"/>
              </a:rPr>
              <a:t>“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</a:rPr>
              <a:t>食研基地</a:t>
            </a:r>
            <a:r>
              <a:rPr lang="en-US" altLang="zh-CN" sz="800" b="1" dirty="0">
                <a:latin typeface="Arial" panose="020B0604020202020204" pitchFamily="34" charset="0"/>
                <a:ea typeface="宋体" panose="02010600030101010101" pitchFamily="2" charset="-122"/>
              </a:rPr>
              <a:t> ”“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</a:rPr>
              <a:t>功能性饮食创新坊</a:t>
            </a:r>
            <a:r>
              <a:rPr lang="en-US" altLang="zh-CN" sz="800" b="1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</a:rPr>
              <a:t>，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面向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</a:rPr>
              <a:t>都市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人群进行周末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</a:rPr>
              <a:t>私厨教学</a:t>
            </a:r>
            <a:endParaRPr lang="en-US" altLang="zh-CN" sz="800" b="1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48" name="Rectangle 88"/>
          <p:cNvSpPr/>
          <p:nvPr>
            <p:custDataLst>
              <p:tags r:id="rId25"/>
            </p:custDataLst>
          </p:nvPr>
        </p:nvSpPr>
        <p:spPr>
          <a:xfrm>
            <a:off x="5847715" y="4679950"/>
            <a:ext cx="1738630" cy="220345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square" lIns="0" tIns="0" rIns="0" bIns="0">
            <a:spAutoFit/>
          </a:bodyPr>
          <a:p>
            <a:pPr marL="142875" indent="-142875" algn="l" defTabSz="762000" eaLnBrk="0" hangingPunct="0">
              <a:lnSpc>
                <a:spcPct val="90000"/>
              </a:lnSpc>
            </a:pPr>
            <a:r>
              <a:rPr lang="en-US" altLang="zh-CN" sz="800" b="1" dirty="0">
                <a:latin typeface="Arial" panose="020B0604020202020204" pitchFamily="34" charset="0"/>
                <a:ea typeface="宋体" panose="02010600030101010101" pitchFamily="2" charset="-122"/>
              </a:rPr>
              <a:t>8 </a:t>
            </a:r>
            <a:r>
              <a: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《食材故事》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rPr>
              <a:t>美食食疗纪录片，传递自然温情，文化概念输出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	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49" name="Rectangle 89"/>
          <p:cNvSpPr/>
          <p:nvPr>
            <p:custDataLst>
              <p:tags r:id="rId26"/>
            </p:custDataLst>
          </p:nvPr>
        </p:nvSpPr>
        <p:spPr>
          <a:xfrm>
            <a:off x="3214370" y="5375275"/>
            <a:ext cx="1336040" cy="33083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p>
            <a:pPr marL="190500" indent="-190500" algn="l" defTabSz="762000" eaLnBrk="0" hangingPunct="0">
              <a:lnSpc>
                <a:spcPct val="90000"/>
              </a:lnSpc>
            </a:pP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10 	App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生活家短视频：厨艺博主上传食谱照片</a:t>
            </a:r>
            <a:r>
              <a:rPr lang="en-US" altLang="zh-CN" sz="800" dirty="0">
                <a:latin typeface="Arial" panose="020B0604020202020204" pitchFamily="34" charset="0"/>
                <a:ea typeface="宋体" panose="02010600030101010101" pitchFamily="2" charset="-122"/>
              </a:rPr>
              <a:t>/</a:t>
            </a: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厨艺视频，汇集美好生活瞬间。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50" name="Arc 90"/>
          <p:cNvSpPr/>
          <p:nvPr>
            <p:custDataLst>
              <p:tags r:id="rId27"/>
            </p:custDataLst>
          </p:nvPr>
        </p:nvSpPr>
        <p:spPr>
          <a:xfrm rot="550083" flipH="1" flipV="1">
            <a:off x="747395" y="4054475"/>
            <a:ext cx="1050925" cy="1017270"/>
          </a:xfrm>
          <a:custGeom>
            <a:avLst/>
            <a:gdLst>
              <a:gd name="txL" fmla="*/ 0 w 21470"/>
              <a:gd name="txT" fmla="*/ 0 h 20804"/>
              <a:gd name="txR" fmla="*/ 21470 w 21470"/>
              <a:gd name="txB" fmla="*/ 20804 h 20804"/>
            </a:gdLst>
            <a:ahLst/>
            <a:cxnLst>
              <a:cxn ang="0">
                <a:pos x="284342" y="0"/>
              </a:cxn>
              <a:cxn ang="0">
                <a:pos x="1050925" y="901663"/>
              </a:cxn>
              <a:cxn ang="0">
                <a:pos x="0" y="1017587"/>
              </a:cxn>
            </a:cxnLst>
            <a:rect l="txL" t="txT" r="txR" b="txB"/>
            <a:pathLst>
              <a:path w="21470" h="20804" fill="none">
                <a:moveTo>
                  <a:pt x="5809" y="-1"/>
                </a:moveTo>
                <a:cubicBezTo>
                  <a:pt x="14302" y="2371"/>
                  <a:pt x="20501" y="9668"/>
                  <a:pt x="21469" y="18434"/>
                </a:cubicBezTo>
              </a:path>
              <a:path w="21470" h="20804" stroke="0">
                <a:moveTo>
                  <a:pt x="5809" y="-1"/>
                </a:moveTo>
                <a:cubicBezTo>
                  <a:pt x="14302" y="2371"/>
                  <a:pt x="20501" y="9668"/>
                  <a:pt x="21469" y="18434"/>
                </a:cubicBezTo>
                <a:lnTo>
                  <a:pt x="0" y="20804"/>
                </a:lnTo>
                <a:close/>
              </a:path>
            </a:pathLst>
          </a:custGeom>
          <a:noFill/>
          <a:ln w="9525" cap="flat" cmpd="sng">
            <a:solidFill>
              <a:schemeClr val="bg2">
                <a:alpha val="100000"/>
              </a:schemeClr>
            </a:solidFill>
            <a:prstDash val="solid"/>
            <a:round/>
            <a:headEnd type="none" w="lg" len="lg"/>
            <a:tailEnd type="stealth" w="lg" len="lg"/>
          </a:ln>
        </p:spPr>
        <p:txBody>
          <a:bodyPr/>
          <a:p>
            <a:endParaRPr lang="zh-CN" altLang="en-US"/>
          </a:p>
        </p:txBody>
      </p:sp>
      <p:sp>
        <p:nvSpPr>
          <p:cNvPr id="151" name="Oval 91"/>
          <p:cNvSpPr/>
          <p:nvPr>
            <p:custDataLst>
              <p:tags r:id="rId28"/>
            </p:custDataLst>
          </p:nvPr>
        </p:nvSpPr>
        <p:spPr>
          <a:xfrm>
            <a:off x="274955" y="4749165"/>
            <a:ext cx="952500" cy="358775"/>
          </a:xfrm>
          <a:prstGeom prst="ellipse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p>
            <a:pPr defTabSz="762000" eaLnBrk="0" hangingPunct="0">
              <a:lnSpc>
                <a:spcPct val="90000"/>
              </a:lnSpc>
            </a:pPr>
            <a:r>
              <a:rPr lang="en-US" altLang="zh-CN" sz="1600" b="1" dirty="0">
                <a:latin typeface="+mn-ea"/>
                <a:cs typeface="+mn-ea"/>
              </a:rPr>
              <a:t> </a:t>
            </a:r>
            <a:r>
              <a:rPr lang="zh-CN" altLang="en-US" sz="1600" b="1" dirty="0">
                <a:latin typeface="+mn-ea"/>
                <a:cs typeface="+mn-ea"/>
              </a:rPr>
              <a:t>愿景</a:t>
            </a:r>
            <a:endParaRPr lang="zh-CN" altLang="en-US" sz="1600" b="1" dirty="0">
              <a:latin typeface="+mn-ea"/>
              <a:cs typeface="+mn-ea"/>
            </a:endParaRPr>
          </a:p>
        </p:txBody>
      </p:sp>
      <p:sp>
        <p:nvSpPr>
          <p:cNvPr id="152" name="Oval 93"/>
          <p:cNvSpPr/>
          <p:nvPr>
            <p:custDataLst>
              <p:tags r:id="rId29"/>
            </p:custDataLst>
          </p:nvPr>
        </p:nvSpPr>
        <p:spPr>
          <a:xfrm>
            <a:off x="5846445" y="1010920"/>
            <a:ext cx="954405" cy="358775"/>
          </a:xfrm>
          <a:prstGeom prst="ellipse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p>
            <a:pPr defTabSz="762000" eaLnBrk="0" hangingPunct="0">
              <a:lnSpc>
                <a:spcPct val="90000"/>
              </a:lnSpc>
            </a:pPr>
            <a:r>
              <a:rPr lang="en-US" altLang="zh-CN" sz="1600" b="1" dirty="0">
                <a:latin typeface="+mn-ea"/>
              </a:rPr>
              <a:t> </a:t>
            </a:r>
            <a:r>
              <a:rPr lang="zh-CN" altLang="en-US" sz="1600" b="1" dirty="0">
                <a:latin typeface="+mn-ea"/>
              </a:rPr>
              <a:t>启动</a:t>
            </a:r>
            <a:endParaRPr lang="zh-CN" altLang="en-US" sz="1600" b="1" dirty="0">
              <a:latin typeface="+mn-ea"/>
            </a:endParaRPr>
          </a:p>
        </p:txBody>
      </p:sp>
      <p:sp>
        <p:nvSpPr>
          <p:cNvPr id="153" name="Arc 94"/>
          <p:cNvSpPr/>
          <p:nvPr>
            <p:custDataLst>
              <p:tags r:id="rId30"/>
            </p:custDataLst>
          </p:nvPr>
        </p:nvSpPr>
        <p:spPr>
          <a:xfrm rot="16872507" flipH="1" flipV="1">
            <a:off x="6402070" y="4667250"/>
            <a:ext cx="1206500" cy="1190625"/>
          </a:xfrm>
          <a:custGeom>
            <a:avLst/>
            <a:gdLst>
              <a:gd name="txL" fmla="*/ 0 w 20881"/>
              <a:gd name="txT" fmla="*/ 0 h 20711"/>
              <a:gd name="txR" fmla="*/ 20881 w 20881"/>
              <a:gd name="txB" fmla="*/ 20711 h 20711"/>
            </a:gdLst>
            <a:ahLst/>
            <a:cxnLst>
              <a:cxn ang="0">
                <a:pos x="354363" y="0"/>
              </a:cxn>
              <a:cxn ang="0">
                <a:pos x="1206500" y="872834"/>
              </a:cxn>
              <a:cxn ang="0">
                <a:pos x="0" y="1190625"/>
              </a:cxn>
            </a:cxnLst>
            <a:rect l="txL" t="txT" r="txR" b="txB"/>
            <a:pathLst>
              <a:path w="20881" h="20711" fill="none">
                <a:moveTo>
                  <a:pt x="6133" y="-1"/>
                </a:moveTo>
                <a:cubicBezTo>
                  <a:pt x="13361" y="2140"/>
                  <a:pt x="18951" y="7895"/>
                  <a:pt x="20880" y="15183"/>
                </a:cubicBezTo>
              </a:path>
              <a:path w="20881" h="20711" stroke="0">
                <a:moveTo>
                  <a:pt x="6133" y="-1"/>
                </a:moveTo>
                <a:cubicBezTo>
                  <a:pt x="13361" y="2140"/>
                  <a:pt x="18951" y="7895"/>
                  <a:pt x="20880" y="15183"/>
                </a:cubicBezTo>
                <a:lnTo>
                  <a:pt x="0" y="20711"/>
                </a:lnTo>
                <a:close/>
              </a:path>
            </a:pathLst>
          </a:custGeom>
          <a:noFill/>
          <a:ln w="9525" cap="flat" cmpd="sng">
            <a:solidFill>
              <a:schemeClr val="bg2">
                <a:alpha val="100000"/>
              </a:schemeClr>
            </a:solidFill>
            <a:prstDash val="solid"/>
            <a:round/>
            <a:headEnd type="none" w="lg" len="lg"/>
            <a:tailEnd type="stealth" w="lg" len="lg"/>
          </a:ln>
        </p:spPr>
        <p:txBody>
          <a:bodyPr/>
          <a:p>
            <a:endParaRPr lang="zh-CN" altLang="en-US"/>
          </a:p>
        </p:txBody>
      </p:sp>
      <p:sp>
        <p:nvSpPr>
          <p:cNvPr id="154" name="Oval 95"/>
          <p:cNvSpPr/>
          <p:nvPr>
            <p:custDataLst>
              <p:tags r:id="rId31"/>
            </p:custDataLst>
          </p:nvPr>
        </p:nvSpPr>
        <p:spPr>
          <a:xfrm>
            <a:off x="6781800" y="5327650"/>
            <a:ext cx="953770" cy="358775"/>
          </a:xfrm>
          <a:prstGeom prst="ellipse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p>
            <a:pPr algn="l" defTabSz="762000" eaLnBrk="0" hangingPunct="0">
              <a:lnSpc>
                <a:spcPct val="90000"/>
              </a:lnSpc>
            </a:pPr>
            <a:r>
              <a:rPr lang="en-US" altLang="zh-CN" sz="1600" b="1" dirty="0">
                <a:latin typeface="+mn-ea"/>
              </a:rPr>
              <a:t> </a:t>
            </a:r>
            <a:r>
              <a:rPr lang="zh-CN" altLang="en-US" sz="1600" b="1" dirty="0">
                <a:latin typeface="+mn-ea"/>
              </a:rPr>
              <a:t>主体</a:t>
            </a:r>
            <a:endParaRPr lang="zh-CN" altLang="en-US" sz="1600" b="1" dirty="0">
              <a:latin typeface="+mn-ea"/>
            </a:endParaRPr>
          </a:p>
        </p:txBody>
      </p:sp>
      <p:grpSp>
        <p:nvGrpSpPr>
          <p:cNvPr id="155" name="组合 154"/>
          <p:cNvGrpSpPr/>
          <p:nvPr/>
        </p:nvGrpSpPr>
        <p:grpSpPr>
          <a:xfrm rot="0">
            <a:off x="2282825" y="1503045"/>
            <a:ext cx="4180205" cy="3912870"/>
            <a:chOff x="6193" y="3373"/>
            <a:chExt cx="6583" cy="6162"/>
          </a:xfrm>
        </p:grpSpPr>
        <p:graphicFrame>
          <p:nvGraphicFramePr>
            <p:cNvPr id="156" name="图表 155"/>
            <p:cNvGraphicFramePr/>
            <p:nvPr/>
          </p:nvGraphicFramePr>
          <p:xfrm>
            <a:off x="6193" y="3373"/>
            <a:ext cx="6583" cy="616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"/>
            </a:graphicData>
          </a:graphic>
        </p:graphicFrame>
        <p:sp>
          <p:nvSpPr>
            <p:cNvPr id="157" name="文本框 156"/>
            <p:cNvSpPr txBox="1"/>
            <p:nvPr/>
          </p:nvSpPr>
          <p:spPr>
            <a:xfrm rot="1740000">
              <a:off x="10412" y="4145"/>
              <a:ext cx="100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 b="1">
                  <a:solidFill>
                    <a:schemeClr val="bg1"/>
                  </a:solidFill>
                </a:rPr>
                <a:t>产品</a:t>
              </a:r>
              <a:endParaRPr lang="zh-CN" altLang="en-US" b="1">
                <a:solidFill>
                  <a:schemeClr val="bg1"/>
                </a:solidFill>
              </a:endParaRPr>
            </a:p>
          </p:txBody>
        </p:sp>
        <p:sp>
          <p:nvSpPr>
            <p:cNvPr id="158" name="文本框 157"/>
            <p:cNvSpPr txBox="1"/>
            <p:nvPr/>
          </p:nvSpPr>
          <p:spPr>
            <a:xfrm rot="19500000">
              <a:off x="10766" y="7951"/>
              <a:ext cx="100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 b="1">
                  <a:solidFill>
                    <a:schemeClr val="bg1"/>
                  </a:solidFill>
                </a:rPr>
                <a:t>服务</a:t>
              </a:r>
              <a:endParaRPr lang="zh-CN" altLang="en-US" b="1">
                <a:solidFill>
                  <a:schemeClr val="bg1"/>
                </a:solidFill>
              </a:endParaRPr>
            </a:p>
          </p:txBody>
        </p:sp>
        <p:sp>
          <p:nvSpPr>
            <p:cNvPr id="159" name="文本框 158"/>
            <p:cNvSpPr txBox="1"/>
            <p:nvPr/>
          </p:nvSpPr>
          <p:spPr>
            <a:xfrm rot="2880000">
              <a:off x="6774" y="7262"/>
              <a:ext cx="1008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b="1">
                  <a:solidFill>
                    <a:schemeClr val="bg1"/>
                  </a:solidFill>
                </a:rPr>
                <a:t>文化</a:t>
              </a:r>
              <a:endParaRPr lang="zh-CN" altLang="en-US" b="1">
                <a:solidFill>
                  <a:schemeClr val="bg1"/>
                </a:solidFill>
              </a:endParaRPr>
            </a:p>
          </p:txBody>
        </p:sp>
        <p:sp>
          <p:nvSpPr>
            <p:cNvPr id="160" name="文本框 159"/>
            <p:cNvSpPr txBox="1"/>
            <p:nvPr/>
          </p:nvSpPr>
          <p:spPr>
            <a:xfrm rot="19440000">
              <a:off x="7281" y="4289"/>
              <a:ext cx="136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 b="1">
                  <a:solidFill>
                    <a:schemeClr val="bg1"/>
                  </a:solidFill>
                </a:rPr>
                <a:t>产业链</a:t>
              </a:r>
              <a:endParaRPr lang="zh-CN" altLang="en-US" b="1">
                <a:solidFill>
                  <a:schemeClr val="bg1"/>
                </a:solidFill>
              </a:endParaRPr>
            </a:p>
          </p:txBody>
        </p:sp>
      </p:grpSp>
      <p:grpSp>
        <p:nvGrpSpPr>
          <p:cNvPr id="161" name="组合 160"/>
          <p:cNvGrpSpPr/>
          <p:nvPr/>
        </p:nvGrpSpPr>
        <p:grpSpPr>
          <a:xfrm rot="900000" flipH="1">
            <a:off x="3248025" y="2240915"/>
            <a:ext cx="2272030" cy="2414905"/>
            <a:chOff x="6817" y="2642"/>
            <a:chExt cx="5754" cy="6117"/>
          </a:xfrm>
        </p:grpSpPr>
        <p:sp>
          <p:nvSpPr>
            <p:cNvPr id="162" name="椭圆 161"/>
            <p:cNvSpPr/>
            <p:nvPr/>
          </p:nvSpPr>
          <p:spPr>
            <a:xfrm>
              <a:off x="6817" y="2827"/>
              <a:ext cx="5754" cy="5754"/>
            </a:xfrm>
            <a:prstGeom prst="ellipse">
              <a:avLst/>
            </a:prstGeom>
            <a:noFill/>
            <a:ln w="19050" cap="rnd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p>
              <a:pPr algn="ctr" defTabSz="914400">
                <a:defRPr/>
              </a:pPr>
              <a:endParaRPr lang="zh-CN" altLang="en-US" sz="2800">
                <a:solidFill>
                  <a:schemeClr val="tx1"/>
                </a:solidFill>
                <a:latin typeface="Bauhaus 93" panose="04030905020B02020C02" pitchFamily="82" charset="0"/>
              </a:endParaRPr>
            </a:p>
          </p:txBody>
        </p:sp>
        <p:sp>
          <p:nvSpPr>
            <p:cNvPr id="163" name="半闭框 162"/>
            <p:cNvSpPr/>
            <p:nvPr/>
          </p:nvSpPr>
          <p:spPr>
            <a:xfrm rot="18922839">
              <a:off x="9676" y="2642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4" name="半闭框 163"/>
            <p:cNvSpPr/>
            <p:nvPr/>
          </p:nvSpPr>
          <p:spPr>
            <a:xfrm rot="15054099">
              <a:off x="7026" y="4041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5" name="半闭框 164"/>
            <p:cNvSpPr/>
            <p:nvPr/>
          </p:nvSpPr>
          <p:spPr>
            <a:xfrm rot="11981181">
              <a:off x="6931" y="6774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6" name="半闭框 165"/>
            <p:cNvSpPr/>
            <p:nvPr/>
          </p:nvSpPr>
          <p:spPr>
            <a:xfrm rot="8111514">
              <a:off x="9238" y="8390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7" name="半闭框 166"/>
            <p:cNvSpPr/>
            <p:nvPr/>
          </p:nvSpPr>
          <p:spPr>
            <a:xfrm rot="4949669">
              <a:off x="11957" y="6964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8" name="半闭框 167"/>
            <p:cNvSpPr/>
            <p:nvPr/>
          </p:nvSpPr>
          <p:spPr>
            <a:xfrm>
              <a:off x="12132" y="4207"/>
              <a:ext cx="369" cy="369"/>
            </a:xfrm>
            <a:prstGeom prst="halfFrame">
              <a:avLst>
                <a:gd name="adj1" fmla="val 10000"/>
                <a:gd name="adj2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169" name="Text Box 83"/>
          <p:cNvSpPr txBox="1"/>
          <p:nvPr>
            <p:custDataLst>
              <p:tags r:id="rId32"/>
            </p:custDataLst>
          </p:nvPr>
        </p:nvSpPr>
        <p:spPr>
          <a:xfrm>
            <a:off x="4601210" y="2601595"/>
            <a:ext cx="589280" cy="201295"/>
          </a:xfrm>
          <a:prstGeom prst="rect">
            <a:avLst/>
          </a:prstGeom>
          <a:noFill/>
          <a:ln w="12700">
            <a:noFill/>
          </a:ln>
        </p:spPr>
        <p:txBody>
          <a:bodyPr wrap="none">
            <a:spAutoFit/>
          </a:bodyPr>
          <a:p>
            <a:pPr algn="l" defTabSz="762000" eaLnBrk="0" hangingPunct="0">
              <a:lnSpc>
                <a:spcPct val="90000"/>
              </a:lnSpc>
              <a:tabLst>
                <a:tab pos="190500" algn="l"/>
              </a:tabLst>
            </a:pP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单点突破</a:t>
            </a:r>
            <a:endParaRPr lang="en-US" altLang="zh-CN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70" name="Text Box 83"/>
          <p:cNvSpPr txBox="1"/>
          <p:nvPr>
            <p:custDataLst>
              <p:tags r:id="rId33"/>
            </p:custDataLst>
          </p:nvPr>
        </p:nvSpPr>
        <p:spPr>
          <a:xfrm>
            <a:off x="5045710" y="3761105"/>
            <a:ext cx="386080" cy="201295"/>
          </a:xfrm>
          <a:prstGeom prst="rect">
            <a:avLst/>
          </a:prstGeom>
          <a:noFill/>
          <a:ln w="12700">
            <a:noFill/>
          </a:ln>
        </p:spPr>
        <p:txBody>
          <a:bodyPr wrap="none">
            <a:spAutoFit/>
          </a:bodyPr>
          <a:p>
            <a:pPr algn="l" defTabSz="762000" eaLnBrk="0" hangingPunct="0">
              <a:lnSpc>
                <a:spcPct val="90000"/>
              </a:lnSpc>
              <a:tabLst>
                <a:tab pos="190500" algn="l"/>
              </a:tabLst>
            </a:pP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流量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71" name="Text Box 83"/>
          <p:cNvSpPr txBox="1"/>
          <p:nvPr>
            <p:custDataLst>
              <p:tags r:id="rId34"/>
            </p:custDataLst>
          </p:nvPr>
        </p:nvSpPr>
        <p:spPr>
          <a:xfrm>
            <a:off x="3468370" y="3933825"/>
            <a:ext cx="438785" cy="201295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p>
            <a:pPr algn="l" defTabSz="762000" eaLnBrk="0" hangingPunct="0">
              <a:lnSpc>
                <a:spcPct val="90000"/>
              </a:lnSpc>
              <a:tabLst>
                <a:tab pos="190500" algn="l"/>
              </a:tabLst>
            </a:pP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沉淀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72" name="Text Box 83"/>
          <p:cNvSpPr txBox="1"/>
          <p:nvPr>
            <p:custDataLst>
              <p:tags r:id="rId35"/>
            </p:custDataLst>
          </p:nvPr>
        </p:nvSpPr>
        <p:spPr>
          <a:xfrm>
            <a:off x="3481705" y="2762250"/>
            <a:ext cx="386080" cy="201295"/>
          </a:xfrm>
          <a:prstGeom prst="rect">
            <a:avLst/>
          </a:prstGeom>
          <a:noFill/>
          <a:ln w="12700">
            <a:noFill/>
          </a:ln>
        </p:spPr>
        <p:txBody>
          <a:bodyPr wrap="none">
            <a:spAutoFit/>
          </a:bodyPr>
          <a:p>
            <a:pPr algn="l" defTabSz="762000" eaLnBrk="0" hangingPunct="0">
              <a:lnSpc>
                <a:spcPct val="90000"/>
              </a:lnSpc>
              <a:tabLst>
                <a:tab pos="190500" algn="l"/>
              </a:tabLst>
            </a:pPr>
            <a:r>
              <a:rPr lang="zh-CN" altLang="en-US" sz="800" dirty="0">
                <a:latin typeface="Arial" panose="020B0604020202020204" pitchFamily="34" charset="0"/>
                <a:ea typeface="宋体" panose="02010600030101010101" pitchFamily="2" charset="-122"/>
              </a:rPr>
              <a:t>变现</a:t>
            </a:r>
            <a:endParaRPr lang="zh-CN" altLang="en-US" sz="8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grpSp>
        <p:nvGrpSpPr>
          <p:cNvPr id="222" name="îṣ1îḍè"/>
          <p:cNvGrpSpPr/>
          <p:nvPr/>
        </p:nvGrpSpPr>
        <p:grpSpPr>
          <a:xfrm rot="0">
            <a:off x="9097645" y="1783080"/>
            <a:ext cx="3267075" cy="332105"/>
            <a:chOff x="6814928" y="1953807"/>
            <a:chExt cx="3852602" cy="391283"/>
          </a:xfrm>
        </p:grpSpPr>
        <p:sp>
          <p:nvSpPr>
            <p:cNvPr id="223" name="íṥḷidé"/>
            <p:cNvSpPr/>
            <p:nvPr/>
          </p:nvSpPr>
          <p:spPr>
            <a:xfrm>
              <a:off x="6814928" y="1971593"/>
              <a:ext cx="1431946" cy="34491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/>
            </a:p>
          </p:txBody>
        </p:sp>
        <p:sp>
          <p:nvSpPr>
            <p:cNvPr id="224" name="ïśḻîḍé"/>
            <p:cNvSpPr txBox="1"/>
            <p:nvPr/>
          </p:nvSpPr>
          <p:spPr bwMode="auto">
            <a:xfrm>
              <a:off x="6843504" y="1953807"/>
              <a:ext cx="3824026" cy="391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 fontScale="8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800" b="1" dirty="0">
                  <a:solidFill>
                    <a:schemeClr val="bg1"/>
                  </a:solidFill>
                </a:rPr>
                <a:t>核心竞争力</a:t>
              </a:r>
              <a:endParaRPr lang="zh-CN" altLang="en-US" sz="18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26" name="íŝḻïďê"/>
          <p:cNvSpPr/>
          <p:nvPr/>
        </p:nvSpPr>
        <p:spPr>
          <a:xfrm>
            <a:off x="8851900" y="2386965"/>
            <a:ext cx="114300" cy="60134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</a:p>
        </p:txBody>
      </p:sp>
      <p:sp>
        <p:nvSpPr>
          <p:cNvPr id="227" name="îş1îḓè"/>
          <p:cNvSpPr/>
          <p:nvPr/>
        </p:nvSpPr>
        <p:spPr bwMode="auto">
          <a:xfrm>
            <a:off x="9053830" y="2621915"/>
            <a:ext cx="3261360" cy="485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大数据 </a:t>
            </a:r>
            <a:r>
              <a:rPr lang="en-US" altLang="zh-CN" sz="1000" b="1" dirty="0">
                <a:solidFill>
                  <a:schemeClr val="bg1"/>
                </a:solidFill>
                <a:sym typeface="+mn-ea"/>
              </a:rPr>
              <a:t>“</a:t>
            </a: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功能性饮食</a:t>
            </a:r>
            <a:r>
              <a:rPr lang="en-US" altLang="zh-CN" sz="1000" b="1" dirty="0">
                <a:solidFill>
                  <a:schemeClr val="bg1"/>
                </a:solidFill>
                <a:sym typeface="+mn-ea"/>
              </a:rPr>
              <a:t>” </a:t>
            </a: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方案定制系统</a:t>
            </a:r>
            <a:endParaRPr lang="zh-CN" altLang="en-US" sz="1000" b="1" dirty="0">
              <a:solidFill>
                <a:schemeClr val="bg1"/>
              </a:solidFill>
            </a:endParaRP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人工智能 </a:t>
            </a:r>
            <a:r>
              <a:rPr lang="en-US" altLang="zh-CN" sz="1000" b="1" dirty="0">
                <a:solidFill>
                  <a:schemeClr val="bg1"/>
                </a:solidFill>
                <a:sym typeface="+mn-ea"/>
              </a:rPr>
              <a:t>NLP+</a:t>
            </a: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优化算法 美食研究</a:t>
            </a:r>
            <a:endParaRPr lang="zh-CN" altLang="en-US" sz="10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28" name="î$ḻiďé"/>
          <p:cNvSpPr txBox="1"/>
          <p:nvPr/>
        </p:nvSpPr>
        <p:spPr bwMode="auto">
          <a:xfrm>
            <a:off x="9053830" y="2289810"/>
            <a:ext cx="3261360" cy="332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 fontScale="8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bg1"/>
                </a:solidFill>
              </a:rPr>
              <a:t>01.</a:t>
            </a:r>
            <a:r>
              <a:rPr lang="zh-CN" altLang="en-US" b="1" dirty="0">
                <a:solidFill>
                  <a:schemeClr val="bg1"/>
                </a:solidFill>
                <a:sym typeface="+mn-ea"/>
              </a:rPr>
              <a:t>技术壁垒</a:t>
            </a:r>
            <a:endParaRPr lang="zh-CN" altLang="en-US" sz="1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30" name="íṧ1iḑè"/>
          <p:cNvSpPr/>
          <p:nvPr/>
        </p:nvSpPr>
        <p:spPr>
          <a:xfrm>
            <a:off x="8851900" y="3420110"/>
            <a:ext cx="114300" cy="60134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</a:p>
        </p:txBody>
      </p:sp>
      <p:sp>
        <p:nvSpPr>
          <p:cNvPr id="231" name="íŝ1idè"/>
          <p:cNvSpPr/>
          <p:nvPr/>
        </p:nvSpPr>
        <p:spPr bwMode="auto">
          <a:xfrm>
            <a:off x="9053830" y="3655060"/>
            <a:ext cx="3261360" cy="485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l">
              <a:lnSpc>
                <a:spcPct val="150000"/>
              </a:lnSpc>
              <a:buClrTx/>
              <a:buSzTx/>
              <a:buFont typeface="Arial" panose="020B0604020202020204" pitchFamily="34" charset="0"/>
              <a:buChar char="•"/>
            </a:pP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优质自媒体 </a:t>
            </a:r>
            <a:r>
              <a:rPr lang="en-US" altLang="zh-CN" sz="1000" b="1" dirty="0">
                <a:solidFill>
                  <a:schemeClr val="bg1"/>
                </a:solidFill>
                <a:sym typeface="+mn-ea"/>
              </a:rPr>
              <a:t>+ </a:t>
            </a: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干</a:t>
            </a:r>
            <a:r>
              <a:rPr lang="en-US" altLang="zh-CN" sz="1000" b="1" dirty="0">
                <a:solidFill>
                  <a:schemeClr val="bg1"/>
                </a:solidFill>
                <a:sym typeface="+mn-ea"/>
              </a:rPr>
              <a:t>货</a:t>
            </a: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科普</a:t>
            </a:r>
            <a:r>
              <a:rPr lang="en-US" altLang="zh-CN" sz="1000" b="1" dirty="0">
                <a:solidFill>
                  <a:schemeClr val="bg1"/>
                </a:solidFill>
                <a:sym typeface="+mn-ea"/>
              </a:rPr>
              <a:t>文章 + </a:t>
            </a: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海量</a:t>
            </a:r>
            <a:r>
              <a:rPr lang="en-US" altLang="zh-CN" sz="1000" b="1" dirty="0">
                <a:solidFill>
                  <a:schemeClr val="bg1"/>
                </a:solidFill>
                <a:sym typeface="+mn-ea"/>
              </a:rPr>
              <a:t>优质视频库</a:t>
            </a:r>
            <a:endParaRPr lang="en-US" altLang="zh-CN" sz="1000" b="1" dirty="0">
              <a:solidFill>
                <a:schemeClr val="bg1"/>
              </a:solidFill>
            </a:endParaRPr>
          </a:p>
          <a:p>
            <a:pPr marL="171450" indent="-171450" algn="l">
              <a:lnSpc>
                <a:spcPct val="150000"/>
              </a:lnSpc>
              <a:buClrTx/>
              <a:buSzTx/>
              <a:buFont typeface="Arial" panose="020B0604020202020204" pitchFamily="34" charset="0"/>
              <a:buChar char="•"/>
            </a:pP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人工智能</a:t>
            </a:r>
            <a:r>
              <a:rPr lang="en-US" altLang="zh-CN" sz="1000" b="1" dirty="0">
                <a:solidFill>
                  <a:schemeClr val="bg1"/>
                </a:solidFill>
                <a:sym typeface="+mn-ea"/>
              </a:rPr>
              <a:t>食谱版权</a:t>
            </a:r>
            <a:endParaRPr lang="en-US" altLang="zh-CN" sz="10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32" name="ïṡļïdè"/>
          <p:cNvSpPr txBox="1"/>
          <p:nvPr/>
        </p:nvSpPr>
        <p:spPr bwMode="auto">
          <a:xfrm>
            <a:off x="9053830" y="3322955"/>
            <a:ext cx="3261360" cy="332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 fontScale="8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bg1"/>
                </a:solidFill>
              </a:rPr>
              <a:t>02.</a:t>
            </a:r>
            <a:r>
              <a:rPr lang="zh-CN" altLang="en-US" b="1" dirty="0">
                <a:solidFill>
                  <a:schemeClr val="bg1"/>
                </a:solidFill>
                <a:sym typeface="+mn-ea"/>
              </a:rPr>
              <a:t>优质内容</a:t>
            </a:r>
            <a:endParaRPr lang="zh-CN" altLang="en-US" sz="1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34" name="ïṩḷiḓe"/>
          <p:cNvSpPr/>
          <p:nvPr/>
        </p:nvSpPr>
        <p:spPr>
          <a:xfrm>
            <a:off x="8851900" y="4451985"/>
            <a:ext cx="114300" cy="60134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</a:p>
        </p:txBody>
      </p:sp>
      <p:sp>
        <p:nvSpPr>
          <p:cNvPr id="235" name="îṩ1îde"/>
          <p:cNvSpPr/>
          <p:nvPr/>
        </p:nvSpPr>
        <p:spPr bwMode="auto">
          <a:xfrm>
            <a:off x="9053830" y="4686935"/>
            <a:ext cx="3387090" cy="485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b="1" dirty="0">
                <a:solidFill>
                  <a:schemeClr val="bg1"/>
                </a:solidFill>
                <a:sym typeface="+mn-ea"/>
              </a:rPr>
              <a:t>“</a:t>
            </a: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一站式服务</a:t>
            </a:r>
            <a:r>
              <a:rPr lang="en-US" altLang="zh-CN" sz="1000" b="1" dirty="0">
                <a:solidFill>
                  <a:schemeClr val="bg1"/>
                </a:solidFill>
                <a:sym typeface="+mn-ea"/>
              </a:rPr>
              <a:t>” </a:t>
            </a: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减少为 </a:t>
            </a:r>
            <a:r>
              <a:rPr lang="en-US" altLang="zh-CN" sz="1000" b="1" dirty="0">
                <a:solidFill>
                  <a:schemeClr val="bg1"/>
                </a:solidFill>
                <a:sym typeface="+mn-ea"/>
              </a:rPr>
              <a:t>“</a:t>
            </a: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健康生活</a:t>
            </a:r>
            <a:r>
              <a:rPr lang="en-US" altLang="zh-CN" sz="1000" b="1" dirty="0">
                <a:solidFill>
                  <a:schemeClr val="bg1"/>
                </a:solidFill>
                <a:sym typeface="+mn-ea"/>
              </a:rPr>
              <a:t>” </a:t>
            </a: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付出的意志力消耗</a:t>
            </a:r>
            <a:endParaRPr lang="zh-CN" altLang="en-US" sz="1000" b="1" dirty="0">
              <a:solidFill>
                <a:schemeClr val="bg1"/>
              </a:solidFill>
            </a:endParaRP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降低吃饭</a:t>
            </a:r>
            <a:r>
              <a:rPr lang="en-US" altLang="zh-CN" sz="1000" b="1" dirty="0">
                <a:solidFill>
                  <a:schemeClr val="bg1"/>
                </a:solidFill>
                <a:sym typeface="+mn-ea"/>
              </a:rPr>
              <a:t>/</a:t>
            </a: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买菜</a:t>
            </a:r>
            <a:r>
              <a:rPr lang="en-US" altLang="zh-CN" sz="1000" b="1" dirty="0">
                <a:solidFill>
                  <a:schemeClr val="bg1"/>
                </a:solidFill>
                <a:sym typeface="+mn-ea"/>
              </a:rPr>
              <a:t>/</a:t>
            </a: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学习厨艺</a:t>
            </a:r>
            <a:r>
              <a:rPr lang="en-US" altLang="zh-CN" sz="1000" b="1" dirty="0">
                <a:solidFill>
                  <a:schemeClr val="bg1"/>
                </a:solidFill>
                <a:sym typeface="+mn-ea"/>
              </a:rPr>
              <a:t>/</a:t>
            </a:r>
            <a:r>
              <a:rPr lang="zh-CN" altLang="en-US" sz="1000" b="1" dirty="0">
                <a:solidFill>
                  <a:schemeClr val="bg1"/>
                </a:solidFill>
                <a:sym typeface="+mn-ea"/>
              </a:rPr>
              <a:t>健康知识的成本</a:t>
            </a:r>
            <a:endParaRPr lang="zh-CN" altLang="en-US" sz="10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36" name="ïŝľiḋé"/>
          <p:cNvSpPr txBox="1"/>
          <p:nvPr/>
        </p:nvSpPr>
        <p:spPr bwMode="auto">
          <a:xfrm>
            <a:off x="9053830" y="4354830"/>
            <a:ext cx="3261360" cy="332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 fontScale="8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bg1"/>
                </a:solidFill>
              </a:rPr>
              <a:t>03.</a:t>
            </a:r>
            <a:r>
              <a:rPr lang="zh-CN" altLang="en-US" sz="1800" b="1" dirty="0">
                <a:solidFill>
                  <a:schemeClr val="bg1"/>
                </a:solidFill>
              </a:rPr>
              <a:t>独特价值</a:t>
            </a:r>
            <a:endParaRPr lang="zh-CN" altLang="en-US" sz="1800" b="1" dirty="0">
              <a:solidFill>
                <a:schemeClr val="bg1"/>
              </a:solidFill>
            </a:endParaRPr>
          </a:p>
        </p:txBody>
      </p:sp>
      <p:cxnSp>
        <p:nvCxnSpPr>
          <p:cNvPr id="237" name="直接连接符 236"/>
          <p:cNvCxnSpPr/>
          <p:nvPr/>
        </p:nvCxnSpPr>
        <p:spPr>
          <a:xfrm>
            <a:off x="9147810" y="2157095"/>
            <a:ext cx="305244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直接连接符 237"/>
          <p:cNvCxnSpPr/>
          <p:nvPr/>
        </p:nvCxnSpPr>
        <p:spPr>
          <a:xfrm>
            <a:off x="9147810" y="3187065"/>
            <a:ext cx="305244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直接连接符 238"/>
          <p:cNvCxnSpPr/>
          <p:nvPr/>
        </p:nvCxnSpPr>
        <p:spPr>
          <a:xfrm>
            <a:off x="9147810" y="4217670"/>
            <a:ext cx="305244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857875" y="6275070"/>
            <a:ext cx="652780" cy="206375"/>
          </a:xfrm>
        </p:spPr>
        <p:txBody>
          <a:bodyPr/>
          <a:lstStyle/>
          <a:p>
            <a:r>
              <a:rPr lang="en-US" altLang="zh-CN" baseline="30000" dirty="0">
                <a:sym typeface="+mn-ea"/>
              </a:rPr>
              <a:t>mealprep®</a:t>
            </a:r>
            <a:r>
              <a:rPr lang="en-US" altLang="zh-CN" dirty="0">
                <a:sym typeface="+mn-ea"/>
              </a:rPr>
              <a:t> </a:t>
            </a:r>
            <a:endParaRPr lang="zh-CN" altLang="en-US" dirty="0"/>
          </a:p>
        </p:txBody>
      </p:sp>
      <p:grpSp>
        <p:nvGrpSpPr>
          <p:cNvPr id="5" name="组合 4"/>
          <p:cNvGrpSpPr/>
          <p:nvPr/>
        </p:nvGrpSpPr>
        <p:grpSpPr>
          <a:xfrm>
            <a:off x="2924810" y="1289050"/>
            <a:ext cx="5367020" cy="3935095"/>
            <a:chOff x="4606" y="2030"/>
            <a:chExt cx="8452" cy="6197"/>
          </a:xfrm>
        </p:grpSpPr>
        <p:grpSp>
          <p:nvGrpSpPr>
            <p:cNvPr id="193" name="组合 192"/>
            <p:cNvGrpSpPr/>
            <p:nvPr/>
          </p:nvGrpSpPr>
          <p:grpSpPr>
            <a:xfrm rot="0" flipH="1">
              <a:off x="11540" y="2051"/>
              <a:ext cx="280" cy="280"/>
              <a:chOff x="4135438" y="2036763"/>
              <a:chExt cx="754062" cy="754062"/>
            </a:xfrm>
            <a:solidFill>
              <a:srgbClr val="DC6E00"/>
            </a:solidFill>
          </p:grpSpPr>
          <p:sp>
            <p:nvSpPr>
              <p:cNvPr id="194" name="Freeform 13"/>
              <p:cNvSpPr/>
              <p:nvPr/>
            </p:nvSpPr>
            <p:spPr bwMode="auto">
              <a:xfrm>
                <a:off x="4135438" y="2203450"/>
                <a:ext cx="258762" cy="320675"/>
              </a:xfrm>
              <a:custGeom>
                <a:avLst/>
                <a:gdLst>
                  <a:gd name="T0" fmla="*/ 68 w 68"/>
                  <a:gd name="T1" fmla="*/ 84 h 84"/>
                  <a:gd name="T2" fmla="*/ 17 w 68"/>
                  <a:gd name="T3" fmla="*/ 0 h 84"/>
                  <a:gd name="T4" fmla="*/ 0 w 68"/>
                  <a:gd name="T5" fmla="*/ 55 h 84"/>
                  <a:gd name="T6" fmla="*/ 4 w 68"/>
                  <a:gd name="T7" fmla="*/ 84 h 84"/>
                  <a:gd name="T8" fmla="*/ 68 w 68"/>
                  <a:gd name="T9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84">
                    <a:moveTo>
                      <a:pt x="68" y="84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6" y="15"/>
                      <a:pt x="0" y="34"/>
                      <a:pt x="0" y="55"/>
                    </a:cubicBezTo>
                    <a:cubicBezTo>
                      <a:pt x="0" y="65"/>
                      <a:pt x="1" y="75"/>
                      <a:pt x="4" y="84"/>
                    </a:cubicBezTo>
                    <a:lnTo>
                      <a:pt x="68" y="8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95" name="Freeform 14"/>
              <p:cNvSpPr/>
              <p:nvPr/>
            </p:nvSpPr>
            <p:spPr bwMode="auto">
              <a:xfrm>
                <a:off x="4475163" y="2043113"/>
                <a:ext cx="381000" cy="209550"/>
              </a:xfrm>
              <a:custGeom>
                <a:avLst/>
                <a:gdLst>
                  <a:gd name="T0" fmla="*/ 0 w 100"/>
                  <a:gd name="T1" fmla="*/ 55 h 55"/>
                  <a:gd name="T2" fmla="*/ 100 w 100"/>
                  <a:gd name="T3" fmla="*/ 55 h 55"/>
                  <a:gd name="T4" fmla="*/ 32 w 100"/>
                  <a:gd name="T5" fmla="*/ 0 h 55"/>
                  <a:gd name="T6" fmla="*/ 0 w 100"/>
                  <a:gd name="T7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" h="55">
                    <a:moveTo>
                      <a:pt x="0" y="55"/>
                    </a:moveTo>
                    <a:cubicBezTo>
                      <a:pt x="100" y="55"/>
                      <a:pt x="100" y="55"/>
                      <a:pt x="100" y="55"/>
                    </a:cubicBezTo>
                    <a:cubicBezTo>
                      <a:pt x="87" y="28"/>
                      <a:pt x="62" y="7"/>
                      <a:pt x="32" y="0"/>
                    </a:cubicBezTo>
                    <a:lnTo>
                      <a:pt x="0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96" name="Freeform 15"/>
              <p:cNvSpPr/>
              <p:nvPr/>
            </p:nvSpPr>
            <p:spPr bwMode="auto">
              <a:xfrm>
                <a:off x="4230688" y="2036763"/>
                <a:ext cx="320675" cy="334962"/>
              </a:xfrm>
              <a:custGeom>
                <a:avLst/>
                <a:gdLst>
                  <a:gd name="T0" fmla="*/ 32 w 84"/>
                  <a:gd name="T1" fmla="*/ 88 h 88"/>
                  <a:gd name="T2" fmla="*/ 84 w 84"/>
                  <a:gd name="T3" fmla="*/ 0 h 88"/>
                  <a:gd name="T4" fmla="*/ 74 w 84"/>
                  <a:gd name="T5" fmla="*/ 0 h 88"/>
                  <a:gd name="T6" fmla="*/ 0 w 84"/>
                  <a:gd name="T7" fmla="*/ 33 h 88"/>
                  <a:gd name="T8" fmla="*/ 32 w 84"/>
                  <a:gd name="T9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88">
                    <a:moveTo>
                      <a:pt x="32" y="88"/>
                    </a:moveTo>
                    <a:cubicBezTo>
                      <a:pt x="84" y="0"/>
                      <a:pt x="84" y="0"/>
                      <a:pt x="84" y="0"/>
                    </a:cubicBezTo>
                    <a:cubicBezTo>
                      <a:pt x="81" y="0"/>
                      <a:pt x="77" y="0"/>
                      <a:pt x="74" y="0"/>
                    </a:cubicBezTo>
                    <a:cubicBezTo>
                      <a:pt x="44" y="0"/>
                      <a:pt x="18" y="13"/>
                      <a:pt x="0" y="33"/>
                    </a:cubicBezTo>
                    <a:lnTo>
                      <a:pt x="32" y="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97" name="Freeform 16"/>
              <p:cNvSpPr/>
              <p:nvPr/>
            </p:nvSpPr>
            <p:spPr bwMode="auto">
              <a:xfrm>
                <a:off x="4170363" y="2570163"/>
                <a:ext cx="381000" cy="215900"/>
              </a:xfrm>
              <a:custGeom>
                <a:avLst/>
                <a:gdLst>
                  <a:gd name="T0" fmla="*/ 69 w 100"/>
                  <a:gd name="T1" fmla="*/ 55 h 57"/>
                  <a:gd name="T2" fmla="*/ 100 w 100"/>
                  <a:gd name="T3" fmla="*/ 0 h 57"/>
                  <a:gd name="T4" fmla="*/ 0 w 100"/>
                  <a:gd name="T5" fmla="*/ 0 h 57"/>
                  <a:gd name="T6" fmla="*/ 71 w 100"/>
                  <a:gd name="T7" fmla="*/ 57 h 57"/>
                  <a:gd name="T8" fmla="*/ 69 w 100"/>
                  <a:gd name="T9" fmla="*/ 5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57">
                    <a:moveTo>
                      <a:pt x="69" y="55"/>
                    </a:moveTo>
                    <a:cubicBezTo>
                      <a:pt x="100" y="0"/>
                      <a:pt x="100" y="0"/>
                      <a:pt x="10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29"/>
                      <a:pt x="39" y="50"/>
                      <a:pt x="71" y="57"/>
                    </a:cubicBezTo>
                    <a:lnTo>
                      <a:pt x="69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98" name="Freeform 17"/>
              <p:cNvSpPr/>
              <p:nvPr/>
            </p:nvSpPr>
            <p:spPr bwMode="auto">
              <a:xfrm>
                <a:off x="4630738" y="2298700"/>
                <a:ext cx="258762" cy="331787"/>
              </a:xfrm>
              <a:custGeom>
                <a:avLst/>
                <a:gdLst>
                  <a:gd name="T0" fmla="*/ 0 w 68"/>
                  <a:gd name="T1" fmla="*/ 0 h 87"/>
                  <a:gd name="T2" fmla="*/ 50 w 68"/>
                  <a:gd name="T3" fmla="*/ 87 h 87"/>
                  <a:gd name="T4" fmla="*/ 68 w 68"/>
                  <a:gd name="T5" fmla="*/ 30 h 87"/>
                  <a:gd name="T6" fmla="*/ 64 w 68"/>
                  <a:gd name="T7" fmla="*/ 0 h 87"/>
                  <a:gd name="T8" fmla="*/ 0 w 68"/>
                  <a:gd name="T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87">
                    <a:moveTo>
                      <a:pt x="0" y="0"/>
                    </a:moveTo>
                    <a:cubicBezTo>
                      <a:pt x="50" y="87"/>
                      <a:pt x="50" y="87"/>
                      <a:pt x="50" y="87"/>
                    </a:cubicBezTo>
                    <a:cubicBezTo>
                      <a:pt x="62" y="71"/>
                      <a:pt x="68" y="51"/>
                      <a:pt x="68" y="30"/>
                    </a:cubicBezTo>
                    <a:cubicBezTo>
                      <a:pt x="68" y="20"/>
                      <a:pt x="67" y="9"/>
                      <a:pt x="6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99" name="Freeform 18"/>
              <p:cNvSpPr/>
              <p:nvPr/>
            </p:nvSpPr>
            <p:spPr bwMode="auto">
              <a:xfrm>
                <a:off x="4478338" y="2459038"/>
                <a:ext cx="312737" cy="331787"/>
              </a:xfrm>
              <a:custGeom>
                <a:avLst/>
                <a:gdLst>
                  <a:gd name="T0" fmla="*/ 50 w 82"/>
                  <a:gd name="T1" fmla="*/ 0 h 87"/>
                  <a:gd name="T2" fmla="*/ 0 w 82"/>
                  <a:gd name="T3" fmla="*/ 87 h 87"/>
                  <a:gd name="T4" fmla="*/ 9 w 82"/>
                  <a:gd name="T5" fmla="*/ 87 h 87"/>
                  <a:gd name="T6" fmla="*/ 82 w 82"/>
                  <a:gd name="T7" fmla="*/ 55 h 87"/>
                  <a:gd name="T8" fmla="*/ 50 w 82"/>
                  <a:gd name="T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87">
                    <a:moveTo>
                      <a:pt x="50" y="0"/>
                    </a:moveTo>
                    <a:cubicBezTo>
                      <a:pt x="0" y="87"/>
                      <a:pt x="0" y="87"/>
                      <a:pt x="0" y="87"/>
                    </a:cubicBezTo>
                    <a:cubicBezTo>
                      <a:pt x="3" y="87"/>
                      <a:pt x="6" y="87"/>
                      <a:pt x="9" y="87"/>
                    </a:cubicBezTo>
                    <a:cubicBezTo>
                      <a:pt x="38" y="87"/>
                      <a:pt x="64" y="75"/>
                      <a:pt x="82" y="55"/>
                    </a:cubicBezTo>
                    <a:lnTo>
                      <a:pt x="5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</p:grpSp>
        <p:grpSp>
          <p:nvGrpSpPr>
            <p:cNvPr id="200" name="组合 199"/>
            <p:cNvGrpSpPr/>
            <p:nvPr/>
          </p:nvGrpSpPr>
          <p:grpSpPr>
            <a:xfrm rot="0" flipH="1">
              <a:off x="4606" y="7947"/>
              <a:ext cx="280" cy="280"/>
              <a:chOff x="4135438" y="2036763"/>
              <a:chExt cx="754062" cy="754062"/>
            </a:xfrm>
            <a:solidFill>
              <a:srgbClr val="DC6E00"/>
            </a:solidFill>
          </p:grpSpPr>
          <p:sp>
            <p:nvSpPr>
              <p:cNvPr id="201" name="Freeform 13"/>
              <p:cNvSpPr/>
              <p:nvPr/>
            </p:nvSpPr>
            <p:spPr bwMode="auto">
              <a:xfrm>
                <a:off x="4135438" y="2203450"/>
                <a:ext cx="258762" cy="320675"/>
              </a:xfrm>
              <a:custGeom>
                <a:avLst/>
                <a:gdLst>
                  <a:gd name="T0" fmla="*/ 68 w 68"/>
                  <a:gd name="T1" fmla="*/ 84 h 84"/>
                  <a:gd name="T2" fmla="*/ 17 w 68"/>
                  <a:gd name="T3" fmla="*/ 0 h 84"/>
                  <a:gd name="T4" fmla="*/ 0 w 68"/>
                  <a:gd name="T5" fmla="*/ 55 h 84"/>
                  <a:gd name="T6" fmla="*/ 4 w 68"/>
                  <a:gd name="T7" fmla="*/ 84 h 84"/>
                  <a:gd name="T8" fmla="*/ 68 w 68"/>
                  <a:gd name="T9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84">
                    <a:moveTo>
                      <a:pt x="68" y="84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6" y="15"/>
                      <a:pt x="0" y="34"/>
                      <a:pt x="0" y="55"/>
                    </a:cubicBezTo>
                    <a:cubicBezTo>
                      <a:pt x="0" y="65"/>
                      <a:pt x="1" y="75"/>
                      <a:pt x="4" y="84"/>
                    </a:cubicBezTo>
                    <a:lnTo>
                      <a:pt x="68" y="8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202" name="Freeform 14"/>
              <p:cNvSpPr/>
              <p:nvPr/>
            </p:nvSpPr>
            <p:spPr bwMode="auto">
              <a:xfrm>
                <a:off x="4475163" y="2043113"/>
                <a:ext cx="381000" cy="209550"/>
              </a:xfrm>
              <a:custGeom>
                <a:avLst/>
                <a:gdLst>
                  <a:gd name="T0" fmla="*/ 0 w 100"/>
                  <a:gd name="T1" fmla="*/ 55 h 55"/>
                  <a:gd name="T2" fmla="*/ 100 w 100"/>
                  <a:gd name="T3" fmla="*/ 55 h 55"/>
                  <a:gd name="T4" fmla="*/ 32 w 100"/>
                  <a:gd name="T5" fmla="*/ 0 h 55"/>
                  <a:gd name="T6" fmla="*/ 0 w 100"/>
                  <a:gd name="T7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" h="55">
                    <a:moveTo>
                      <a:pt x="0" y="55"/>
                    </a:moveTo>
                    <a:cubicBezTo>
                      <a:pt x="100" y="55"/>
                      <a:pt x="100" y="55"/>
                      <a:pt x="100" y="55"/>
                    </a:cubicBezTo>
                    <a:cubicBezTo>
                      <a:pt x="87" y="28"/>
                      <a:pt x="62" y="7"/>
                      <a:pt x="32" y="0"/>
                    </a:cubicBezTo>
                    <a:lnTo>
                      <a:pt x="0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203" name="Freeform 15"/>
              <p:cNvSpPr/>
              <p:nvPr/>
            </p:nvSpPr>
            <p:spPr bwMode="auto">
              <a:xfrm>
                <a:off x="4230688" y="2036763"/>
                <a:ext cx="320675" cy="334962"/>
              </a:xfrm>
              <a:custGeom>
                <a:avLst/>
                <a:gdLst>
                  <a:gd name="T0" fmla="*/ 32 w 84"/>
                  <a:gd name="T1" fmla="*/ 88 h 88"/>
                  <a:gd name="T2" fmla="*/ 84 w 84"/>
                  <a:gd name="T3" fmla="*/ 0 h 88"/>
                  <a:gd name="T4" fmla="*/ 74 w 84"/>
                  <a:gd name="T5" fmla="*/ 0 h 88"/>
                  <a:gd name="T6" fmla="*/ 0 w 84"/>
                  <a:gd name="T7" fmla="*/ 33 h 88"/>
                  <a:gd name="T8" fmla="*/ 32 w 84"/>
                  <a:gd name="T9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88">
                    <a:moveTo>
                      <a:pt x="32" y="88"/>
                    </a:moveTo>
                    <a:cubicBezTo>
                      <a:pt x="84" y="0"/>
                      <a:pt x="84" y="0"/>
                      <a:pt x="84" y="0"/>
                    </a:cubicBezTo>
                    <a:cubicBezTo>
                      <a:pt x="81" y="0"/>
                      <a:pt x="77" y="0"/>
                      <a:pt x="74" y="0"/>
                    </a:cubicBezTo>
                    <a:cubicBezTo>
                      <a:pt x="44" y="0"/>
                      <a:pt x="18" y="13"/>
                      <a:pt x="0" y="33"/>
                    </a:cubicBezTo>
                    <a:lnTo>
                      <a:pt x="32" y="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204" name="Freeform 16"/>
              <p:cNvSpPr/>
              <p:nvPr/>
            </p:nvSpPr>
            <p:spPr bwMode="auto">
              <a:xfrm>
                <a:off x="4170363" y="2570163"/>
                <a:ext cx="381000" cy="215900"/>
              </a:xfrm>
              <a:custGeom>
                <a:avLst/>
                <a:gdLst>
                  <a:gd name="T0" fmla="*/ 69 w 100"/>
                  <a:gd name="T1" fmla="*/ 55 h 57"/>
                  <a:gd name="T2" fmla="*/ 100 w 100"/>
                  <a:gd name="T3" fmla="*/ 0 h 57"/>
                  <a:gd name="T4" fmla="*/ 0 w 100"/>
                  <a:gd name="T5" fmla="*/ 0 h 57"/>
                  <a:gd name="T6" fmla="*/ 71 w 100"/>
                  <a:gd name="T7" fmla="*/ 57 h 57"/>
                  <a:gd name="T8" fmla="*/ 69 w 100"/>
                  <a:gd name="T9" fmla="*/ 5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57">
                    <a:moveTo>
                      <a:pt x="69" y="55"/>
                    </a:moveTo>
                    <a:cubicBezTo>
                      <a:pt x="100" y="0"/>
                      <a:pt x="100" y="0"/>
                      <a:pt x="10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29"/>
                      <a:pt x="39" y="50"/>
                      <a:pt x="71" y="57"/>
                    </a:cubicBezTo>
                    <a:lnTo>
                      <a:pt x="69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205" name="Freeform 17"/>
              <p:cNvSpPr/>
              <p:nvPr/>
            </p:nvSpPr>
            <p:spPr bwMode="auto">
              <a:xfrm>
                <a:off x="4630738" y="2298700"/>
                <a:ext cx="258762" cy="331787"/>
              </a:xfrm>
              <a:custGeom>
                <a:avLst/>
                <a:gdLst>
                  <a:gd name="T0" fmla="*/ 0 w 68"/>
                  <a:gd name="T1" fmla="*/ 0 h 87"/>
                  <a:gd name="T2" fmla="*/ 50 w 68"/>
                  <a:gd name="T3" fmla="*/ 87 h 87"/>
                  <a:gd name="T4" fmla="*/ 68 w 68"/>
                  <a:gd name="T5" fmla="*/ 30 h 87"/>
                  <a:gd name="T6" fmla="*/ 64 w 68"/>
                  <a:gd name="T7" fmla="*/ 0 h 87"/>
                  <a:gd name="T8" fmla="*/ 0 w 68"/>
                  <a:gd name="T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87">
                    <a:moveTo>
                      <a:pt x="0" y="0"/>
                    </a:moveTo>
                    <a:cubicBezTo>
                      <a:pt x="50" y="87"/>
                      <a:pt x="50" y="87"/>
                      <a:pt x="50" y="87"/>
                    </a:cubicBezTo>
                    <a:cubicBezTo>
                      <a:pt x="62" y="71"/>
                      <a:pt x="68" y="51"/>
                      <a:pt x="68" y="30"/>
                    </a:cubicBezTo>
                    <a:cubicBezTo>
                      <a:pt x="68" y="20"/>
                      <a:pt x="67" y="9"/>
                      <a:pt x="6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206" name="Freeform 18"/>
              <p:cNvSpPr/>
              <p:nvPr/>
            </p:nvSpPr>
            <p:spPr bwMode="auto">
              <a:xfrm>
                <a:off x="4478338" y="2459038"/>
                <a:ext cx="312737" cy="331787"/>
              </a:xfrm>
              <a:custGeom>
                <a:avLst/>
                <a:gdLst>
                  <a:gd name="T0" fmla="*/ 50 w 82"/>
                  <a:gd name="T1" fmla="*/ 0 h 87"/>
                  <a:gd name="T2" fmla="*/ 0 w 82"/>
                  <a:gd name="T3" fmla="*/ 87 h 87"/>
                  <a:gd name="T4" fmla="*/ 9 w 82"/>
                  <a:gd name="T5" fmla="*/ 87 h 87"/>
                  <a:gd name="T6" fmla="*/ 82 w 82"/>
                  <a:gd name="T7" fmla="*/ 55 h 87"/>
                  <a:gd name="T8" fmla="*/ 50 w 82"/>
                  <a:gd name="T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87">
                    <a:moveTo>
                      <a:pt x="50" y="0"/>
                    </a:moveTo>
                    <a:cubicBezTo>
                      <a:pt x="0" y="87"/>
                      <a:pt x="0" y="87"/>
                      <a:pt x="0" y="87"/>
                    </a:cubicBezTo>
                    <a:cubicBezTo>
                      <a:pt x="3" y="87"/>
                      <a:pt x="6" y="87"/>
                      <a:pt x="9" y="87"/>
                    </a:cubicBezTo>
                    <a:cubicBezTo>
                      <a:pt x="38" y="87"/>
                      <a:pt x="64" y="75"/>
                      <a:pt x="82" y="55"/>
                    </a:cubicBezTo>
                    <a:lnTo>
                      <a:pt x="5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</p:grpSp>
        <p:grpSp>
          <p:nvGrpSpPr>
            <p:cNvPr id="207" name="组合 206"/>
            <p:cNvGrpSpPr/>
            <p:nvPr/>
          </p:nvGrpSpPr>
          <p:grpSpPr>
            <a:xfrm rot="0" flipH="1">
              <a:off x="12778" y="5730"/>
              <a:ext cx="280" cy="280"/>
              <a:chOff x="4135438" y="2036763"/>
              <a:chExt cx="754062" cy="754062"/>
            </a:xfrm>
            <a:solidFill>
              <a:srgbClr val="DC6E00"/>
            </a:solidFill>
          </p:grpSpPr>
          <p:sp>
            <p:nvSpPr>
              <p:cNvPr id="208" name="Freeform 13"/>
              <p:cNvSpPr/>
              <p:nvPr/>
            </p:nvSpPr>
            <p:spPr bwMode="auto">
              <a:xfrm>
                <a:off x="4135438" y="2203450"/>
                <a:ext cx="258762" cy="320675"/>
              </a:xfrm>
              <a:custGeom>
                <a:avLst/>
                <a:gdLst>
                  <a:gd name="T0" fmla="*/ 68 w 68"/>
                  <a:gd name="T1" fmla="*/ 84 h 84"/>
                  <a:gd name="T2" fmla="*/ 17 w 68"/>
                  <a:gd name="T3" fmla="*/ 0 h 84"/>
                  <a:gd name="T4" fmla="*/ 0 w 68"/>
                  <a:gd name="T5" fmla="*/ 55 h 84"/>
                  <a:gd name="T6" fmla="*/ 4 w 68"/>
                  <a:gd name="T7" fmla="*/ 84 h 84"/>
                  <a:gd name="T8" fmla="*/ 68 w 68"/>
                  <a:gd name="T9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84">
                    <a:moveTo>
                      <a:pt x="68" y="84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6" y="15"/>
                      <a:pt x="0" y="34"/>
                      <a:pt x="0" y="55"/>
                    </a:cubicBezTo>
                    <a:cubicBezTo>
                      <a:pt x="0" y="65"/>
                      <a:pt x="1" y="75"/>
                      <a:pt x="4" y="84"/>
                    </a:cubicBezTo>
                    <a:lnTo>
                      <a:pt x="68" y="8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209" name="Freeform 14"/>
              <p:cNvSpPr/>
              <p:nvPr/>
            </p:nvSpPr>
            <p:spPr bwMode="auto">
              <a:xfrm>
                <a:off x="4475163" y="2043113"/>
                <a:ext cx="381000" cy="209550"/>
              </a:xfrm>
              <a:custGeom>
                <a:avLst/>
                <a:gdLst>
                  <a:gd name="T0" fmla="*/ 0 w 100"/>
                  <a:gd name="T1" fmla="*/ 55 h 55"/>
                  <a:gd name="T2" fmla="*/ 100 w 100"/>
                  <a:gd name="T3" fmla="*/ 55 h 55"/>
                  <a:gd name="T4" fmla="*/ 32 w 100"/>
                  <a:gd name="T5" fmla="*/ 0 h 55"/>
                  <a:gd name="T6" fmla="*/ 0 w 100"/>
                  <a:gd name="T7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" h="55">
                    <a:moveTo>
                      <a:pt x="0" y="55"/>
                    </a:moveTo>
                    <a:cubicBezTo>
                      <a:pt x="100" y="55"/>
                      <a:pt x="100" y="55"/>
                      <a:pt x="100" y="55"/>
                    </a:cubicBezTo>
                    <a:cubicBezTo>
                      <a:pt x="87" y="28"/>
                      <a:pt x="62" y="7"/>
                      <a:pt x="32" y="0"/>
                    </a:cubicBezTo>
                    <a:lnTo>
                      <a:pt x="0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210" name="Freeform 15"/>
              <p:cNvSpPr/>
              <p:nvPr/>
            </p:nvSpPr>
            <p:spPr bwMode="auto">
              <a:xfrm>
                <a:off x="4230688" y="2036763"/>
                <a:ext cx="320675" cy="334962"/>
              </a:xfrm>
              <a:custGeom>
                <a:avLst/>
                <a:gdLst>
                  <a:gd name="T0" fmla="*/ 32 w 84"/>
                  <a:gd name="T1" fmla="*/ 88 h 88"/>
                  <a:gd name="T2" fmla="*/ 84 w 84"/>
                  <a:gd name="T3" fmla="*/ 0 h 88"/>
                  <a:gd name="T4" fmla="*/ 74 w 84"/>
                  <a:gd name="T5" fmla="*/ 0 h 88"/>
                  <a:gd name="T6" fmla="*/ 0 w 84"/>
                  <a:gd name="T7" fmla="*/ 33 h 88"/>
                  <a:gd name="T8" fmla="*/ 32 w 84"/>
                  <a:gd name="T9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88">
                    <a:moveTo>
                      <a:pt x="32" y="88"/>
                    </a:moveTo>
                    <a:cubicBezTo>
                      <a:pt x="84" y="0"/>
                      <a:pt x="84" y="0"/>
                      <a:pt x="84" y="0"/>
                    </a:cubicBezTo>
                    <a:cubicBezTo>
                      <a:pt x="81" y="0"/>
                      <a:pt x="77" y="0"/>
                      <a:pt x="74" y="0"/>
                    </a:cubicBezTo>
                    <a:cubicBezTo>
                      <a:pt x="44" y="0"/>
                      <a:pt x="18" y="13"/>
                      <a:pt x="0" y="33"/>
                    </a:cubicBezTo>
                    <a:lnTo>
                      <a:pt x="32" y="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211" name="Freeform 16"/>
              <p:cNvSpPr/>
              <p:nvPr/>
            </p:nvSpPr>
            <p:spPr bwMode="auto">
              <a:xfrm>
                <a:off x="4170363" y="2570163"/>
                <a:ext cx="381000" cy="215900"/>
              </a:xfrm>
              <a:custGeom>
                <a:avLst/>
                <a:gdLst>
                  <a:gd name="T0" fmla="*/ 69 w 100"/>
                  <a:gd name="T1" fmla="*/ 55 h 57"/>
                  <a:gd name="T2" fmla="*/ 100 w 100"/>
                  <a:gd name="T3" fmla="*/ 0 h 57"/>
                  <a:gd name="T4" fmla="*/ 0 w 100"/>
                  <a:gd name="T5" fmla="*/ 0 h 57"/>
                  <a:gd name="T6" fmla="*/ 71 w 100"/>
                  <a:gd name="T7" fmla="*/ 57 h 57"/>
                  <a:gd name="T8" fmla="*/ 69 w 100"/>
                  <a:gd name="T9" fmla="*/ 5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57">
                    <a:moveTo>
                      <a:pt x="69" y="55"/>
                    </a:moveTo>
                    <a:cubicBezTo>
                      <a:pt x="100" y="0"/>
                      <a:pt x="100" y="0"/>
                      <a:pt x="10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29"/>
                      <a:pt x="39" y="50"/>
                      <a:pt x="71" y="57"/>
                    </a:cubicBezTo>
                    <a:lnTo>
                      <a:pt x="69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212" name="Freeform 17"/>
              <p:cNvSpPr/>
              <p:nvPr/>
            </p:nvSpPr>
            <p:spPr bwMode="auto">
              <a:xfrm>
                <a:off x="4630738" y="2298700"/>
                <a:ext cx="258762" cy="331787"/>
              </a:xfrm>
              <a:custGeom>
                <a:avLst/>
                <a:gdLst>
                  <a:gd name="T0" fmla="*/ 0 w 68"/>
                  <a:gd name="T1" fmla="*/ 0 h 87"/>
                  <a:gd name="T2" fmla="*/ 50 w 68"/>
                  <a:gd name="T3" fmla="*/ 87 h 87"/>
                  <a:gd name="T4" fmla="*/ 68 w 68"/>
                  <a:gd name="T5" fmla="*/ 30 h 87"/>
                  <a:gd name="T6" fmla="*/ 64 w 68"/>
                  <a:gd name="T7" fmla="*/ 0 h 87"/>
                  <a:gd name="T8" fmla="*/ 0 w 68"/>
                  <a:gd name="T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87">
                    <a:moveTo>
                      <a:pt x="0" y="0"/>
                    </a:moveTo>
                    <a:cubicBezTo>
                      <a:pt x="50" y="87"/>
                      <a:pt x="50" y="87"/>
                      <a:pt x="50" y="87"/>
                    </a:cubicBezTo>
                    <a:cubicBezTo>
                      <a:pt x="62" y="71"/>
                      <a:pt x="68" y="51"/>
                      <a:pt x="68" y="30"/>
                    </a:cubicBezTo>
                    <a:cubicBezTo>
                      <a:pt x="68" y="20"/>
                      <a:pt x="67" y="9"/>
                      <a:pt x="6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213" name="Freeform 18"/>
              <p:cNvSpPr/>
              <p:nvPr/>
            </p:nvSpPr>
            <p:spPr bwMode="auto">
              <a:xfrm>
                <a:off x="4478338" y="2459038"/>
                <a:ext cx="312737" cy="331787"/>
              </a:xfrm>
              <a:custGeom>
                <a:avLst/>
                <a:gdLst>
                  <a:gd name="T0" fmla="*/ 50 w 82"/>
                  <a:gd name="T1" fmla="*/ 0 h 87"/>
                  <a:gd name="T2" fmla="*/ 0 w 82"/>
                  <a:gd name="T3" fmla="*/ 87 h 87"/>
                  <a:gd name="T4" fmla="*/ 9 w 82"/>
                  <a:gd name="T5" fmla="*/ 87 h 87"/>
                  <a:gd name="T6" fmla="*/ 82 w 82"/>
                  <a:gd name="T7" fmla="*/ 55 h 87"/>
                  <a:gd name="T8" fmla="*/ 50 w 82"/>
                  <a:gd name="T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87">
                    <a:moveTo>
                      <a:pt x="50" y="0"/>
                    </a:moveTo>
                    <a:cubicBezTo>
                      <a:pt x="0" y="87"/>
                      <a:pt x="0" y="87"/>
                      <a:pt x="0" y="87"/>
                    </a:cubicBezTo>
                    <a:cubicBezTo>
                      <a:pt x="3" y="87"/>
                      <a:pt x="6" y="87"/>
                      <a:pt x="9" y="87"/>
                    </a:cubicBezTo>
                    <a:cubicBezTo>
                      <a:pt x="38" y="87"/>
                      <a:pt x="64" y="75"/>
                      <a:pt x="82" y="55"/>
                    </a:cubicBezTo>
                    <a:lnTo>
                      <a:pt x="5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</p:grpSp>
        <p:grpSp>
          <p:nvGrpSpPr>
            <p:cNvPr id="214" name="组合 213"/>
            <p:cNvGrpSpPr/>
            <p:nvPr/>
          </p:nvGrpSpPr>
          <p:grpSpPr>
            <a:xfrm rot="0" flipH="1">
              <a:off x="12777" y="4350"/>
              <a:ext cx="280" cy="280"/>
              <a:chOff x="4135438" y="2036763"/>
              <a:chExt cx="754062" cy="754062"/>
            </a:xfrm>
            <a:solidFill>
              <a:srgbClr val="DC6E00"/>
            </a:solidFill>
          </p:grpSpPr>
          <p:sp>
            <p:nvSpPr>
              <p:cNvPr id="215" name="Freeform 13"/>
              <p:cNvSpPr/>
              <p:nvPr/>
            </p:nvSpPr>
            <p:spPr bwMode="auto">
              <a:xfrm>
                <a:off x="4135438" y="2203450"/>
                <a:ext cx="258762" cy="320675"/>
              </a:xfrm>
              <a:custGeom>
                <a:avLst/>
                <a:gdLst>
                  <a:gd name="T0" fmla="*/ 68 w 68"/>
                  <a:gd name="T1" fmla="*/ 84 h 84"/>
                  <a:gd name="T2" fmla="*/ 17 w 68"/>
                  <a:gd name="T3" fmla="*/ 0 h 84"/>
                  <a:gd name="T4" fmla="*/ 0 w 68"/>
                  <a:gd name="T5" fmla="*/ 55 h 84"/>
                  <a:gd name="T6" fmla="*/ 4 w 68"/>
                  <a:gd name="T7" fmla="*/ 84 h 84"/>
                  <a:gd name="T8" fmla="*/ 68 w 68"/>
                  <a:gd name="T9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84">
                    <a:moveTo>
                      <a:pt x="68" y="84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6" y="15"/>
                      <a:pt x="0" y="34"/>
                      <a:pt x="0" y="55"/>
                    </a:cubicBezTo>
                    <a:cubicBezTo>
                      <a:pt x="0" y="65"/>
                      <a:pt x="1" y="75"/>
                      <a:pt x="4" y="84"/>
                    </a:cubicBezTo>
                    <a:lnTo>
                      <a:pt x="68" y="8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216" name="Freeform 14"/>
              <p:cNvSpPr/>
              <p:nvPr/>
            </p:nvSpPr>
            <p:spPr bwMode="auto">
              <a:xfrm>
                <a:off x="4475163" y="2043113"/>
                <a:ext cx="381000" cy="209550"/>
              </a:xfrm>
              <a:custGeom>
                <a:avLst/>
                <a:gdLst>
                  <a:gd name="T0" fmla="*/ 0 w 100"/>
                  <a:gd name="T1" fmla="*/ 55 h 55"/>
                  <a:gd name="T2" fmla="*/ 100 w 100"/>
                  <a:gd name="T3" fmla="*/ 55 h 55"/>
                  <a:gd name="T4" fmla="*/ 32 w 100"/>
                  <a:gd name="T5" fmla="*/ 0 h 55"/>
                  <a:gd name="T6" fmla="*/ 0 w 100"/>
                  <a:gd name="T7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" h="55">
                    <a:moveTo>
                      <a:pt x="0" y="55"/>
                    </a:moveTo>
                    <a:cubicBezTo>
                      <a:pt x="100" y="55"/>
                      <a:pt x="100" y="55"/>
                      <a:pt x="100" y="55"/>
                    </a:cubicBezTo>
                    <a:cubicBezTo>
                      <a:pt x="87" y="28"/>
                      <a:pt x="62" y="7"/>
                      <a:pt x="32" y="0"/>
                    </a:cubicBezTo>
                    <a:lnTo>
                      <a:pt x="0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217" name="Freeform 15"/>
              <p:cNvSpPr/>
              <p:nvPr/>
            </p:nvSpPr>
            <p:spPr bwMode="auto">
              <a:xfrm>
                <a:off x="4230688" y="2036763"/>
                <a:ext cx="320675" cy="334962"/>
              </a:xfrm>
              <a:custGeom>
                <a:avLst/>
                <a:gdLst>
                  <a:gd name="T0" fmla="*/ 32 w 84"/>
                  <a:gd name="T1" fmla="*/ 88 h 88"/>
                  <a:gd name="T2" fmla="*/ 84 w 84"/>
                  <a:gd name="T3" fmla="*/ 0 h 88"/>
                  <a:gd name="T4" fmla="*/ 74 w 84"/>
                  <a:gd name="T5" fmla="*/ 0 h 88"/>
                  <a:gd name="T6" fmla="*/ 0 w 84"/>
                  <a:gd name="T7" fmla="*/ 33 h 88"/>
                  <a:gd name="T8" fmla="*/ 32 w 84"/>
                  <a:gd name="T9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88">
                    <a:moveTo>
                      <a:pt x="32" y="88"/>
                    </a:moveTo>
                    <a:cubicBezTo>
                      <a:pt x="84" y="0"/>
                      <a:pt x="84" y="0"/>
                      <a:pt x="84" y="0"/>
                    </a:cubicBezTo>
                    <a:cubicBezTo>
                      <a:pt x="81" y="0"/>
                      <a:pt x="77" y="0"/>
                      <a:pt x="74" y="0"/>
                    </a:cubicBezTo>
                    <a:cubicBezTo>
                      <a:pt x="44" y="0"/>
                      <a:pt x="18" y="13"/>
                      <a:pt x="0" y="33"/>
                    </a:cubicBezTo>
                    <a:lnTo>
                      <a:pt x="32" y="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218" name="Freeform 16"/>
              <p:cNvSpPr/>
              <p:nvPr/>
            </p:nvSpPr>
            <p:spPr bwMode="auto">
              <a:xfrm>
                <a:off x="4170363" y="2570163"/>
                <a:ext cx="381000" cy="215900"/>
              </a:xfrm>
              <a:custGeom>
                <a:avLst/>
                <a:gdLst>
                  <a:gd name="T0" fmla="*/ 69 w 100"/>
                  <a:gd name="T1" fmla="*/ 55 h 57"/>
                  <a:gd name="T2" fmla="*/ 100 w 100"/>
                  <a:gd name="T3" fmla="*/ 0 h 57"/>
                  <a:gd name="T4" fmla="*/ 0 w 100"/>
                  <a:gd name="T5" fmla="*/ 0 h 57"/>
                  <a:gd name="T6" fmla="*/ 71 w 100"/>
                  <a:gd name="T7" fmla="*/ 57 h 57"/>
                  <a:gd name="T8" fmla="*/ 69 w 100"/>
                  <a:gd name="T9" fmla="*/ 5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57">
                    <a:moveTo>
                      <a:pt x="69" y="55"/>
                    </a:moveTo>
                    <a:cubicBezTo>
                      <a:pt x="100" y="0"/>
                      <a:pt x="100" y="0"/>
                      <a:pt x="10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29"/>
                      <a:pt x="39" y="50"/>
                      <a:pt x="71" y="57"/>
                    </a:cubicBezTo>
                    <a:lnTo>
                      <a:pt x="69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219" name="Freeform 17"/>
              <p:cNvSpPr/>
              <p:nvPr/>
            </p:nvSpPr>
            <p:spPr bwMode="auto">
              <a:xfrm>
                <a:off x="4630738" y="2298700"/>
                <a:ext cx="258762" cy="331787"/>
              </a:xfrm>
              <a:custGeom>
                <a:avLst/>
                <a:gdLst>
                  <a:gd name="T0" fmla="*/ 0 w 68"/>
                  <a:gd name="T1" fmla="*/ 0 h 87"/>
                  <a:gd name="T2" fmla="*/ 50 w 68"/>
                  <a:gd name="T3" fmla="*/ 87 h 87"/>
                  <a:gd name="T4" fmla="*/ 68 w 68"/>
                  <a:gd name="T5" fmla="*/ 30 h 87"/>
                  <a:gd name="T6" fmla="*/ 64 w 68"/>
                  <a:gd name="T7" fmla="*/ 0 h 87"/>
                  <a:gd name="T8" fmla="*/ 0 w 68"/>
                  <a:gd name="T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87">
                    <a:moveTo>
                      <a:pt x="0" y="0"/>
                    </a:moveTo>
                    <a:cubicBezTo>
                      <a:pt x="50" y="87"/>
                      <a:pt x="50" y="87"/>
                      <a:pt x="50" y="87"/>
                    </a:cubicBezTo>
                    <a:cubicBezTo>
                      <a:pt x="62" y="71"/>
                      <a:pt x="68" y="51"/>
                      <a:pt x="68" y="30"/>
                    </a:cubicBezTo>
                    <a:cubicBezTo>
                      <a:pt x="68" y="20"/>
                      <a:pt x="67" y="9"/>
                      <a:pt x="6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220" name="Freeform 18"/>
              <p:cNvSpPr/>
              <p:nvPr/>
            </p:nvSpPr>
            <p:spPr bwMode="auto">
              <a:xfrm>
                <a:off x="4478338" y="2459038"/>
                <a:ext cx="312737" cy="331787"/>
              </a:xfrm>
              <a:custGeom>
                <a:avLst/>
                <a:gdLst>
                  <a:gd name="T0" fmla="*/ 50 w 82"/>
                  <a:gd name="T1" fmla="*/ 0 h 87"/>
                  <a:gd name="T2" fmla="*/ 0 w 82"/>
                  <a:gd name="T3" fmla="*/ 87 h 87"/>
                  <a:gd name="T4" fmla="*/ 9 w 82"/>
                  <a:gd name="T5" fmla="*/ 87 h 87"/>
                  <a:gd name="T6" fmla="*/ 82 w 82"/>
                  <a:gd name="T7" fmla="*/ 55 h 87"/>
                  <a:gd name="T8" fmla="*/ 50 w 82"/>
                  <a:gd name="T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87">
                    <a:moveTo>
                      <a:pt x="50" y="0"/>
                    </a:moveTo>
                    <a:cubicBezTo>
                      <a:pt x="0" y="87"/>
                      <a:pt x="0" y="87"/>
                      <a:pt x="0" y="87"/>
                    </a:cubicBezTo>
                    <a:cubicBezTo>
                      <a:pt x="3" y="87"/>
                      <a:pt x="6" y="87"/>
                      <a:pt x="9" y="87"/>
                    </a:cubicBezTo>
                    <a:cubicBezTo>
                      <a:pt x="38" y="87"/>
                      <a:pt x="64" y="75"/>
                      <a:pt x="82" y="55"/>
                    </a:cubicBezTo>
                    <a:lnTo>
                      <a:pt x="5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</p:grpSp>
        <p:sp>
          <p:nvSpPr>
            <p:cNvPr id="4" name="文本框 3"/>
            <p:cNvSpPr txBox="1"/>
            <p:nvPr/>
          </p:nvSpPr>
          <p:spPr>
            <a:xfrm>
              <a:off x="11881" y="2030"/>
              <a:ext cx="1093" cy="3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pPr algn="l"/>
              <a:r>
                <a:rPr lang="zh-CN" altLang="en-US" sz="800" b="1" dirty="0">
                  <a:latin typeface="Arial" panose="020B0604020202020204" pitchFamily="34" charset="0"/>
                  <a:ea typeface="宋体" panose="02010600030101010101" pitchFamily="2" charset="-122"/>
                  <a:sym typeface="+mn-ea"/>
                </a:rPr>
                <a:t>核心竞争力</a:t>
              </a:r>
              <a:endParaRPr lang="zh-CN" altLang="en-US" sz="800" b="1" dirty="0">
                <a:latin typeface="Arial" panose="020B0604020202020204" pitchFamily="34" charset="0"/>
                <a:ea typeface="宋体" panose="02010600030101010101" pitchFamily="2" charset="-122"/>
                <a:sym typeface="+mn-ea"/>
              </a:endParaRPr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6369050" y="1056640"/>
            <a:ext cx="1950085" cy="3293110"/>
            <a:chOff x="10030" y="1664"/>
            <a:chExt cx="3071" cy="5186"/>
          </a:xfrm>
        </p:grpSpPr>
        <p:grpSp>
          <p:nvGrpSpPr>
            <p:cNvPr id="36" name="组合 35"/>
            <p:cNvGrpSpPr/>
            <p:nvPr/>
          </p:nvGrpSpPr>
          <p:grpSpPr>
            <a:xfrm>
              <a:off x="11521" y="1664"/>
              <a:ext cx="1580" cy="335"/>
              <a:chOff x="11521" y="1664"/>
              <a:chExt cx="1580" cy="335"/>
            </a:xfrm>
          </p:grpSpPr>
          <p:sp>
            <p:nvSpPr>
              <p:cNvPr id="37" name="Text Box 79"/>
              <p:cNvSpPr txBox="1"/>
              <p:nvPr>
                <p:custDataLst>
                  <p:tags r:id="rId36"/>
                </p:custDataLst>
              </p:nvPr>
            </p:nvSpPr>
            <p:spPr>
              <a:xfrm>
                <a:off x="11847" y="1682"/>
                <a:ext cx="1254" cy="317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none">
                <a:spAutoFit/>
              </a:bodyPr>
              <a:p>
                <a:pPr algn="l" defTabSz="762000" eaLnBrk="0" hangingPunct="0">
                  <a:lnSpc>
                    <a:spcPct val="90000"/>
                  </a:lnSpc>
                  <a:tabLst>
                    <a:tab pos="190500" algn="l"/>
                  </a:tabLst>
                </a:pPr>
                <a:r>
                  <a:rPr lang="zh-CN" altLang="en-US" sz="800" b="1" dirty="0">
                    <a:latin typeface="Arial" panose="020B0604020202020204" pitchFamily="34" charset="0"/>
                    <a:ea typeface="宋体" panose="02010600030101010101" pitchFamily="2" charset="-122"/>
                  </a:rPr>
                  <a:t>创业前期计划</a:t>
                </a:r>
                <a:endParaRPr lang="zh-CN" altLang="en-US" sz="800" b="1" dirty="0"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grpSp>
            <p:nvGrpSpPr>
              <p:cNvPr id="38" name="组合 37"/>
              <p:cNvGrpSpPr/>
              <p:nvPr/>
            </p:nvGrpSpPr>
            <p:grpSpPr>
              <a:xfrm rot="0">
                <a:off x="11521" y="1664"/>
                <a:ext cx="303" cy="298"/>
                <a:chOff x="7097713" y="3538538"/>
                <a:chExt cx="790575" cy="776287"/>
              </a:xfrm>
              <a:solidFill>
                <a:srgbClr val="06C245"/>
              </a:solidFill>
            </p:grpSpPr>
            <p:sp>
              <p:nvSpPr>
                <p:cNvPr id="39" name="Freeform 62"/>
                <p:cNvSpPr/>
                <p:nvPr/>
              </p:nvSpPr>
              <p:spPr bwMode="auto">
                <a:xfrm>
                  <a:off x="7389813" y="3694113"/>
                  <a:ext cx="57150" cy="109537"/>
                </a:xfrm>
                <a:custGeom>
                  <a:avLst/>
                  <a:gdLst>
                    <a:gd name="T0" fmla="*/ 9 w 15"/>
                    <a:gd name="T1" fmla="*/ 0 h 29"/>
                    <a:gd name="T2" fmla="*/ 6 w 15"/>
                    <a:gd name="T3" fmla="*/ 0 h 29"/>
                    <a:gd name="T4" fmla="*/ 0 w 15"/>
                    <a:gd name="T5" fmla="*/ 5 h 29"/>
                    <a:gd name="T6" fmla="*/ 0 w 15"/>
                    <a:gd name="T7" fmla="*/ 29 h 29"/>
                    <a:gd name="T8" fmla="*/ 15 w 15"/>
                    <a:gd name="T9" fmla="*/ 29 h 29"/>
                    <a:gd name="T10" fmla="*/ 15 w 15"/>
                    <a:gd name="T11" fmla="*/ 5 h 29"/>
                    <a:gd name="T12" fmla="*/ 9 w 15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29">
                      <a:moveTo>
                        <a:pt x="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5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15" y="29"/>
                        <a:pt x="15" y="29"/>
                        <a:pt x="15" y="29"/>
                      </a:cubicBezTo>
                      <a:cubicBezTo>
                        <a:pt x="15" y="5"/>
                        <a:pt x="15" y="5"/>
                        <a:pt x="15" y="5"/>
                      </a:cubicBezTo>
                      <a:cubicBezTo>
                        <a:pt x="15" y="2"/>
                        <a:pt x="12" y="0"/>
                        <a:pt x="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p>
                  <a:endParaRPr lang="zh-CN" altLang="en-US"/>
                </a:p>
              </p:txBody>
            </p:sp>
            <p:sp>
              <p:nvSpPr>
                <p:cNvPr id="40" name="Freeform 63"/>
                <p:cNvSpPr/>
                <p:nvPr/>
              </p:nvSpPr>
              <p:spPr bwMode="auto">
                <a:xfrm>
                  <a:off x="7539038" y="3694113"/>
                  <a:ext cx="55563" cy="109537"/>
                </a:xfrm>
                <a:custGeom>
                  <a:avLst/>
                  <a:gdLst>
                    <a:gd name="T0" fmla="*/ 9 w 15"/>
                    <a:gd name="T1" fmla="*/ 0 h 29"/>
                    <a:gd name="T2" fmla="*/ 6 w 15"/>
                    <a:gd name="T3" fmla="*/ 0 h 29"/>
                    <a:gd name="T4" fmla="*/ 0 w 15"/>
                    <a:gd name="T5" fmla="*/ 5 h 29"/>
                    <a:gd name="T6" fmla="*/ 0 w 15"/>
                    <a:gd name="T7" fmla="*/ 29 h 29"/>
                    <a:gd name="T8" fmla="*/ 15 w 15"/>
                    <a:gd name="T9" fmla="*/ 29 h 29"/>
                    <a:gd name="T10" fmla="*/ 15 w 15"/>
                    <a:gd name="T11" fmla="*/ 5 h 29"/>
                    <a:gd name="T12" fmla="*/ 9 w 15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29">
                      <a:moveTo>
                        <a:pt x="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2"/>
                        <a:pt x="0" y="5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15" y="29"/>
                        <a:pt x="15" y="29"/>
                        <a:pt x="15" y="29"/>
                      </a:cubicBezTo>
                      <a:cubicBezTo>
                        <a:pt x="15" y="5"/>
                        <a:pt x="15" y="5"/>
                        <a:pt x="15" y="5"/>
                      </a:cubicBezTo>
                      <a:cubicBezTo>
                        <a:pt x="15" y="2"/>
                        <a:pt x="12" y="0"/>
                        <a:pt x="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p>
                  <a:endParaRPr lang="zh-CN" altLang="en-US"/>
                </a:p>
              </p:txBody>
            </p:sp>
            <p:sp>
              <p:nvSpPr>
                <p:cNvPr id="41" name="Freeform 64"/>
                <p:cNvSpPr/>
                <p:nvPr/>
              </p:nvSpPr>
              <p:spPr bwMode="auto">
                <a:xfrm>
                  <a:off x="7097713" y="3538538"/>
                  <a:ext cx="790575" cy="776287"/>
                </a:xfrm>
                <a:custGeom>
                  <a:avLst/>
                  <a:gdLst>
                    <a:gd name="T0" fmla="*/ 104 w 208"/>
                    <a:gd name="T1" fmla="*/ 0 h 204"/>
                    <a:gd name="T2" fmla="*/ 0 w 208"/>
                    <a:gd name="T3" fmla="*/ 104 h 204"/>
                    <a:gd name="T4" fmla="*/ 30 w 208"/>
                    <a:gd name="T5" fmla="*/ 178 h 204"/>
                    <a:gd name="T6" fmla="*/ 72 w 208"/>
                    <a:gd name="T7" fmla="*/ 203 h 204"/>
                    <a:gd name="T8" fmla="*/ 75 w 208"/>
                    <a:gd name="T9" fmla="*/ 204 h 204"/>
                    <a:gd name="T10" fmla="*/ 84 w 208"/>
                    <a:gd name="T11" fmla="*/ 197 h 204"/>
                    <a:gd name="T12" fmla="*/ 78 w 208"/>
                    <a:gd name="T13" fmla="*/ 184 h 204"/>
                    <a:gd name="T14" fmla="*/ 45 w 208"/>
                    <a:gd name="T15" fmla="*/ 163 h 204"/>
                    <a:gd name="T16" fmla="*/ 20 w 208"/>
                    <a:gd name="T17" fmla="*/ 104 h 204"/>
                    <a:gd name="T18" fmla="*/ 104 w 208"/>
                    <a:gd name="T19" fmla="*/ 20 h 204"/>
                    <a:gd name="T20" fmla="*/ 188 w 208"/>
                    <a:gd name="T21" fmla="*/ 104 h 204"/>
                    <a:gd name="T22" fmla="*/ 163 w 208"/>
                    <a:gd name="T23" fmla="*/ 164 h 204"/>
                    <a:gd name="T24" fmla="*/ 133 w 208"/>
                    <a:gd name="T25" fmla="*/ 180 h 204"/>
                    <a:gd name="T26" fmla="*/ 122 w 208"/>
                    <a:gd name="T27" fmla="*/ 175 h 204"/>
                    <a:gd name="T28" fmla="*/ 113 w 208"/>
                    <a:gd name="T29" fmla="*/ 140 h 204"/>
                    <a:gd name="T30" fmla="*/ 145 w 208"/>
                    <a:gd name="T31" fmla="*/ 107 h 204"/>
                    <a:gd name="T32" fmla="*/ 145 w 208"/>
                    <a:gd name="T33" fmla="*/ 76 h 204"/>
                    <a:gd name="T34" fmla="*/ 63 w 208"/>
                    <a:gd name="T35" fmla="*/ 76 h 204"/>
                    <a:gd name="T36" fmla="*/ 63 w 208"/>
                    <a:gd name="T37" fmla="*/ 107 h 204"/>
                    <a:gd name="T38" fmla="*/ 93 w 208"/>
                    <a:gd name="T39" fmla="*/ 140 h 204"/>
                    <a:gd name="T40" fmla="*/ 107 w 208"/>
                    <a:gd name="T41" fmla="*/ 189 h 204"/>
                    <a:gd name="T42" fmla="*/ 133 w 208"/>
                    <a:gd name="T43" fmla="*/ 200 h 204"/>
                    <a:gd name="T44" fmla="*/ 177 w 208"/>
                    <a:gd name="T45" fmla="*/ 178 h 204"/>
                    <a:gd name="T46" fmla="*/ 177 w 208"/>
                    <a:gd name="T47" fmla="*/ 178 h 204"/>
                    <a:gd name="T48" fmla="*/ 208 w 208"/>
                    <a:gd name="T49" fmla="*/ 104 h 204"/>
                    <a:gd name="T50" fmla="*/ 104 w 208"/>
                    <a:gd name="T51" fmla="*/ 0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08" h="204">
                      <a:moveTo>
                        <a:pt x="104" y="0"/>
                      </a:moveTo>
                      <a:cubicBezTo>
                        <a:pt x="47" y="0"/>
                        <a:pt x="0" y="47"/>
                        <a:pt x="0" y="104"/>
                      </a:cubicBezTo>
                      <a:cubicBezTo>
                        <a:pt x="0" y="132"/>
                        <a:pt x="11" y="158"/>
                        <a:pt x="30" y="178"/>
                      </a:cubicBezTo>
                      <a:cubicBezTo>
                        <a:pt x="42" y="189"/>
                        <a:pt x="56" y="198"/>
                        <a:pt x="72" y="203"/>
                      </a:cubicBezTo>
                      <a:cubicBezTo>
                        <a:pt x="73" y="203"/>
                        <a:pt x="74" y="204"/>
                        <a:pt x="75" y="204"/>
                      </a:cubicBezTo>
                      <a:cubicBezTo>
                        <a:pt x="79" y="204"/>
                        <a:pt x="83" y="201"/>
                        <a:pt x="84" y="197"/>
                      </a:cubicBezTo>
                      <a:cubicBezTo>
                        <a:pt x="86" y="191"/>
                        <a:pt x="83" y="186"/>
                        <a:pt x="78" y="184"/>
                      </a:cubicBezTo>
                      <a:cubicBezTo>
                        <a:pt x="65" y="180"/>
                        <a:pt x="54" y="173"/>
                        <a:pt x="45" y="163"/>
                      </a:cubicBezTo>
                      <a:cubicBezTo>
                        <a:pt x="29" y="148"/>
                        <a:pt x="20" y="127"/>
                        <a:pt x="20" y="104"/>
                      </a:cubicBezTo>
                      <a:cubicBezTo>
                        <a:pt x="20" y="58"/>
                        <a:pt x="58" y="20"/>
                        <a:pt x="104" y="20"/>
                      </a:cubicBezTo>
                      <a:cubicBezTo>
                        <a:pt x="150" y="20"/>
                        <a:pt x="188" y="58"/>
                        <a:pt x="188" y="104"/>
                      </a:cubicBezTo>
                      <a:cubicBezTo>
                        <a:pt x="188" y="127"/>
                        <a:pt x="179" y="148"/>
                        <a:pt x="163" y="164"/>
                      </a:cubicBezTo>
                      <a:cubicBezTo>
                        <a:pt x="157" y="169"/>
                        <a:pt x="142" y="180"/>
                        <a:pt x="133" y="180"/>
                      </a:cubicBezTo>
                      <a:cubicBezTo>
                        <a:pt x="128" y="180"/>
                        <a:pt x="125" y="179"/>
                        <a:pt x="122" y="175"/>
                      </a:cubicBezTo>
                      <a:cubicBezTo>
                        <a:pt x="115" y="167"/>
                        <a:pt x="113" y="151"/>
                        <a:pt x="113" y="140"/>
                      </a:cubicBezTo>
                      <a:cubicBezTo>
                        <a:pt x="131" y="139"/>
                        <a:pt x="145" y="125"/>
                        <a:pt x="145" y="107"/>
                      </a:cubicBezTo>
                      <a:cubicBezTo>
                        <a:pt x="145" y="76"/>
                        <a:pt x="145" y="76"/>
                        <a:pt x="145" y="76"/>
                      </a:cubicBezTo>
                      <a:cubicBezTo>
                        <a:pt x="63" y="76"/>
                        <a:pt x="63" y="76"/>
                        <a:pt x="63" y="76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124"/>
                        <a:pt x="77" y="139"/>
                        <a:pt x="93" y="140"/>
                      </a:cubicBezTo>
                      <a:cubicBezTo>
                        <a:pt x="93" y="153"/>
                        <a:pt x="95" y="175"/>
                        <a:pt x="107" y="189"/>
                      </a:cubicBezTo>
                      <a:cubicBezTo>
                        <a:pt x="114" y="196"/>
                        <a:pt x="123" y="200"/>
                        <a:pt x="133" y="200"/>
                      </a:cubicBezTo>
                      <a:cubicBezTo>
                        <a:pt x="152" y="200"/>
                        <a:pt x="174" y="180"/>
                        <a:pt x="177" y="178"/>
                      </a:cubicBezTo>
                      <a:cubicBezTo>
                        <a:pt x="177" y="178"/>
                        <a:pt x="177" y="178"/>
                        <a:pt x="177" y="178"/>
                      </a:cubicBezTo>
                      <a:cubicBezTo>
                        <a:pt x="197" y="158"/>
                        <a:pt x="208" y="132"/>
                        <a:pt x="208" y="104"/>
                      </a:cubicBezTo>
                      <a:cubicBezTo>
                        <a:pt x="208" y="47"/>
                        <a:pt x="161" y="0"/>
                        <a:pt x="10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p>
                  <a:endParaRPr lang="zh-CN" altLang="en-US"/>
                </a:p>
              </p:txBody>
            </p:sp>
          </p:grpSp>
        </p:grpSp>
        <p:grpSp>
          <p:nvGrpSpPr>
            <p:cNvPr id="42" name="组合 41"/>
            <p:cNvGrpSpPr/>
            <p:nvPr/>
          </p:nvGrpSpPr>
          <p:grpSpPr>
            <a:xfrm rot="0">
              <a:off x="11879" y="6552"/>
              <a:ext cx="303" cy="298"/>
              <a:chOff x="7097713" y="3538538"/>
              <a:chExt cx="790575" cy="776287"/>
            </a:xfrm>
            <a:solidFill>
              <a:srgbClr val="06C245"/>
            </a:solidFill>
          </p:grpSpPr>
          <p:sp>
            <p:nvSpPr>
              <p:cNvPr id="43" name="Freeform 62"/>
              <p:cNvSpPr/>
              <p:nvPr/>
            </p:nvSpPr>
            <p:spPr bwMode="auto">
              <a:xfrm>
                <a:off x="7389813" y="3694113"/>
                <a:ext cx="57150" cy="109537"/>
              </a:xfrm>
              <a:custGeom>
                <a:avLst/>
                <a:gdLst>
                  <a:gd name="T0" fmla="*/ 9 w 15"/>
                  <a:gd name="T1" fmla="*/ 0 h 29"/>
                  <a:gd name="T2" fmla="*/ 6 w 15"/>
                  <a:gd name="T3" fmla="*/ 0 h 29"/>
                  <a:gd name="T4" fmla="*/ 0 w 15"/>
                  <a:gd name="T5" fmla="*/ 5 h 29"/>
                  <a:gd name="T6" fmla="*/ 0 w 15"/>
                  <a:gd name="T7" fmla="*/ 29 h 29"/>
                  <a:gd name="T8" fmla="*/ 15 w 15"/>
                  <a:gd name="T9" fmla="*/ 29 h 29"/>
                  <a:gd name="T10" fmla="*/ 15 w 15"/>
                  <a:gd name="T11" fmla="*/ 5 h 29"/>
                  <a:gd name="T12" fmla="*/ 9 w 15"/>
                  <a:gd name="T1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29">
                    <a:moveTo>
                      <a:pt x="9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5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15" y="29"/>
                      <a:pt x="15" y="29"/>
                      <a:pt x="15" y="29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2"/>
                      <a:pt x="12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44" name="Freeform 63"/>
              <p:cNvSpPr/>
              <p:nvPr/>
            </p:nvSpPr>
            <p:spPr bwMode="auto">
              <a:xfrm>
                <a:off x="7539038" y="3694113"/>
                <a:ext cx="55563" cy="109537"/>
              </a:xfrm>
              <a:custGeom>
                <a:avLst/>
                <a:gdLst>
                  <a:gd name="T0" fmla="*/ 9 w 15"/>
                  <a:gd name="T1" fmla="*/ 0 h 29"/>
                  <a:gd name="T2" fmla="*/ 6 w 15"/>
                  <a:gd name="T3" fmla="*/ 0 h 29"/>
                  <a:gd name="T4" fmla="*/ 0 w 15"/>
                  <a:gd name="T5" fmla="*/ 5 h 29"/>
                  <a:gd name="T6" fmla="*/ 0 w 15"/>
                  <a:gd name="T7" fmla="*/ 29 h 29"/>
                  <a:gd name="T8" fmla="*/ 15 w 15"/>
                  <a:gd name="T9" fmla="*/ 29 h 29"/>
                  <a:gd name="T10" fmla="*/ 15 w 15"/>
                  <a:gd name="T11" fmla="*/ 5 h 29"/>
                  <a:gd name="T12" fmla="*/ 9 w 15"/>
                  <a:gd name="T1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29">
                    <a:moveTo>
                      <a:pt x="9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5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15" y="29"/>
                      <a:pt x="15" y="29"/>
                      <a:pt x="15" y="29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2"/>
                      <a:pt x="12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45" name="Freeform 64"/>
              <p:cNvSpPr/>
              <p:nvPr/>
            </p:nvSpPr>
            <p:spPr bwMode="auto">
              <a:xfrm>
                <a:off x="7097713" y="3538538"/>
                <a:ext cx="790575" cy="776287"/>
              </a:xfrm>
              <a:custGeom>
                <a:avLst/>
                <a:gdLst>
                  <a:gd name="T0" fmla="*/ 104 w 208"/>
                  <a:gd name="T1" fmla="*/ 0 h 204"/>
                  <a:gd name="T2" fmla="*/ 0 w 208"/>
                  <a:gd name="T3" fmla="*/ 104 h 204"/>
                  <a:gd name="T4" fmla="*/ 30 w 208"/>
                  <a:gd name="T5" fmla="*/ 178 h 204"/>
                  <a:gd name="T6" fmla="*/ 72 w 208"/>
                  <a:gd name="T7" fmla="*/ 203 h 204"/>
                  <a:gd name="T8" fmla="*/ 75 w 208"/>
                  <a:gd name="T9" fmla="*/ 204 h 204"/>
                  <a:gd name="T10" fmla="*/ 84 w 208"/>
                  <a:gd name="T11" fmla="*/ 197 h 204"/>
                  <a:gd name="T12" fmla="*/ 78 w 208"/>
                  <a:gd name="T13" fmla="*/ 184 h 204"/>
                  <a:gd name="T14" fmla="*/ 45 w 208"/>
                  <a:gd name="T15" fmla="*/ 163 h 204"/>
                  <a:gd name="T16" fmla="*/ 20 w 208"/>
                  <a:gd name="T17" fmla="*/ 104 h 204"/>
                  <a:gd name="T18" fmla="*/ 104 w 208"/>
                  <a:gd name="T19" fmla="*/ 20 h 204"/>
                  <a:gd name="T20" fmla="*/ 188 w 208"/>
                  <a:gd name="T21" fmla="*/ 104 h 204"/>
                  <a:gd name="T22" fmla="*/ 163 w 208"/>
                  <a:gd name="T23" fmla="*/ 164 h 204"/>
                  <a:gd name="T24" fmla="*/ 133 w 208"/>
                  <a:gd name="T25" fmla="*/ 180 h 204"/>
                  <a:gd name="T26" fmla="*/ 122 w 208"/>
                  <a:gd name="T27" fmla="*/ 175 h 204"/>
                  <a:gd name="T28" fmla="*/ 113 w 208"/>
                  <a:gd name="T29" fmla="*/ 140 h 204"/>
                  <a:gd name="T30" fmla="*/ 145 w 208"/>
                  <a:gd name="T31" fmla="*/ 107 h 204"/>
                  <a:gd name="T32" fmla="*/ 145 w 208"/>
                  <a:gd name="T33" fmla="*/ 76 h 204"/>
                  <a:gd name="T34" fmla="*/ 63 w 208"/>
                  <a:gd name="T35" fmla="*/ 76 h 204"/>
                  <a:gd name="T36" fmla="*/ 63 w 208"/>
                  <a:gd name="T37" fmla="*/ 107 h 204"/>
                  <a:gd name="T38" fmla="*/ 93 w 208"/>
                  <a:gd name="T39" fmla="*/ 140 h 204"/>
                  <a:gd name="T40" fmla="*/ 107 w 208"/>
                  <a:gd name="T41" fmla="*/ 189 h 204"/>
                  <a:gd name="T42" fmla="*/ 133 w 208"/>
                  <a:gd name="T43" fmla="*/ 200 h 204"/>
                  <a:gd name="T44" fmla="*/ 177 w 208"/>
                  <a:gd name="T45" fmla="*/ 178 h 204"/>
                  <a:gd name="T46" fmla="*/ 177 w 208"/>
                  <a:gd name="T47" fmla="*/ 178 h 204"/>
                  <a:gd name="T48" fmla="*/ 208 w 208"/>
                  <a:gd name="T49" fmla="*/ 104 h 204"/>
                  <a:gd name="T50" fmla="*/ 104 w 208"/>
                  <a:gd name="T51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08" h="204">
                    <a:moveTo>
                      <a:pt x="104" y="0"/>
                    </a:moveTo>
                    <a:cubicBezTo>
                      <a:pt x="47" y="0"/>
                      <a:pt x="0" y="47"/>
                      <a:pt x="0" y="104"/>
                    </a:cubicBezTo>
                    <a:cubicBezTo>
                      <a:pt x="0" y="132"/>
                      <a:pt x="11" y="158"/>
                      <a:pt x="30" y="178"/>
                    </a:cubicBezTo>
                    <a:cubicBezTo>
                      <a:pt x="42" y="189"/>
                      <a:pt x="56" y="198"/>
                      <a:pt x="72" y="203"/>
                    </a:cubicBezTo>
                    <a:cubicBezTo>
                      <a:pt x="73" y="203"/>
                      <a:pt x="74" y="204"/>
                      <a:pt x="75" y="204"/>
                    </a:cubicBezTo>
                    <a:cubicBezTo>
                      <a:pt x="79" y="204"/>
                      <a:pt x="83" y="201"/>
                      <a:pt x="84" y="197"/>
                    </a:cubicBezTo>
                    <a:cubicBezTo>
                      <a:pt x="86" y="191"/>
                      <a:pt x="83" y="186"/>
                      <a:pt x="78" y="184"/>
                    </a:cubicBezTo>
                    <a:cubicBezTo>
                      <a:pt x="65" y="180"/>
                      <a:pt x="54" y="173"/>
                      <a:pt x="45" y="163"/>
                    </a:cubicBezTo>
                    <a:cubicBezTo>
                      <a:pt x="29" y="148"/>
                      <a:pt x="20" y="127"/>
                      <a:pt x="20" y="104"/>
                    </a:cubicBezTo>
                    <a:cubicBezTo>
                      <a:pt x="20" y="58"/>
                      <a:pt x="58" y="20"/>
                      <a:pt x="104" y="20"/>
                    </a:cubicBezTo>
                    <a:cubicBezTo>
                      <a:pt x="150" y="20"/>
                      <a:pt x="188" y="58"/>
                      <a:pt x="188" y="104"/>
                    </a:cubicBezTo>
                    <a:cubicBezTo>
                      <a:pt x="188" y="127"/>
                      <a:pt x="179" y="148"/>
                      <a:pt x="163" y="164"/>
                    </a:cubicBezTo>
                    <a:cubicBezTo>
                      <a:pt x="157" y="169"/>
                      <a:pt x="142" y="180"/>
                      <a:pt x="133" y="180"/>
                    </a:cubicBezTo>
                    <a:cubicBezTo>
                      <a:pt x="128" y="180"/>
                      <a:pt x="125" y="179"/>
                      <a:pt x="122" y="175"/>
                    </a:cubicBezTo>
                    <a:cubicBezTo>
                      <a:pt x="115" y="167"/>
                      <a:pt x="113" y="151"/>
                      <a:pt x="113" y="140"/>
                    </a:cubicBezTo>
                    <a:cubicBezTo>
                      <a:pt x="131" y="139"/>
                      <a:pt x="145" y="125"/>
                      <a:pt x="145" y="107"/>
                    </a:cubicBezTo>
                    <a:cubicBezTo>
                      <a:pt x="145" y="76"/>
                      <a:pt x="145" y="76"/>
                      <a:pt x="145" y="76"/>
                    </a:cubicBezTo>
                    <a:cubicBezTo>
                      <a:pt x="63" y="76"/>
                      <a:pt x="63" y="76"/>
                      <a:pt x="63" y="76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124"/>
                      <a:pt x="77" y="139"/>
                      <a:pt x="93" y="140"/>
                    </a:cubicBezTo>
                    <a:cubicBezTo>
                      <a:pt x="93" y="153"/>
                      <a:pt x="95" y="175"/>
                      <a:pt x="107" y="189"/>
                    </a:cubicBezTo>
                    <a:cubicBezTo>
                      <a:pt x="114" y="196"/>
                      <a:pt x="123" y="200"/>
                      <a:pt x="133" y="200"/>
                    </a:cubicBezTo>
                    <a:cubicBezTo>
                      <a:pt x="152" y="200"/>
                      <a:pt x="174" y="180"/>
                      <a:pt x="177" y="178"/>
                    </a:cubicBezTo>
                    <a:cubicBezTo>
                      <a:pt x="177" y="178"/>
                      <a:pt x="177" y="178"/>
                      <a:pt x="177" y="178"/>
                    </a:cubicBezTo>
                    <a:cubicBezTo>
                      <a:pt x="197" y="158"/>
                      <a:pt x="208" y="132"/>
                      <a:pt x="208" y="104"/>
                    </a:cubicBezTo>
                    <a:cubicBezTo>
                      <a:pt x="208" y="47"/>
                      <a:pt x="161" y="0"/>
                      <a:pt x="10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</p:grpSp>
        <p:grpSp>
          <p:nvGrpSpPr>
            <p:cNvPr id="46" name="组合 45"/>
            <p:cNvGrpSpPr/>
            <p:nvPr/>
          </p:nvGrpSpPr>
          <p:grpSpPr>
            <a:xfrm rot="0">
              <a:off x="10030" y="2340"/>
              <a:ext cx="303" cy="298"/>
              <a:chOff x="7097713" y="3538538"/>
              <a:chExt cx="790575" cy="776287"/>
            </a:xfrm>
            <a:solidFill>
              <a:srgbClr val="06C245"/>
            </a:solidFill>
          </p:grpSpPr>
          <p:sp>
            <p:nvSpPr>
              <p:cNvPr id="47" name="Freeform 62"/>
              <p:cNvSpPr/>
              <p:nvPr/>
            </p:nvSpPr>
            <p:spPr bwMode="auto">
              <a:xfrm>
                <a:off x="7389813" y="3694113"/>
                <a:ext cx="57150" cy="109537"/>
              </a:xfrm>
              <a:custGeom>
                <a:avLst/>
                <a:gdLst>
                  <a:gd name="T0" fmla="*/ 9 w 15"/>
                  <a:gd name="T1" fmla="*/ 0 h 29"/>
                  <a:gd name="T2" fmla="*/ 6 w 15"/>
                  <a:gd name="T3" fmla="*/ 0 h 29"/>
                  <a:gd name="T4" fmla="*/ 0 w 15"/>
                  <a:gd name="T5" fmla="*/ 5 h 29"/>
                  <a:gd name="T6" fmla="*/ 0 w 15"/>
                  <a:gd name="T7" fmla="*/ 29 h 29"/>
                  <a:gd name="T8" fmla="*/ 15 w 15"/>
                  <a:gd name="T9" fmla="*/ 29 h 29"/>
                  <a:gd name="T10" fmla="*/ 15 w 15"/>
                  <a:gd name="T11" fmla="*/ 5 h 29"/>
                  <a:gd name="T12" fmla="*/ 9 w 15"/>
                  <a:gd name="T1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29">
                    <a:moveTo>
                      <a:pt x="9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5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15" y="29"/>
                      <a:pt x="15" y="29"/>
                      <a:pt x="15" y="29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2"/>
                      <a:pt x="12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48" name="Freeform 63"/>
              <p:cNvSpPr/>
              <p:nvPr/>
            </p:nvSpPr>
            <p:spPr bwMode="auto">
              <a:xfrm>
                <a:off x="7539038" y="3694113"/>
                <a:ext cx="55563" cy="109537"/>
              </a:xfrm>
              <a:custGeom>
                <a:avLst/>
                <a:gdLst>
                  <a:gd name="T0" fmla="*/ 9 w 15"/>
                  <a:gd name="T1" fmla="*/ 0 h 29"/>
                  <a:gd name="T2" fmla="*/ 6 w 15"/>
                  <a:gd name="T3" fmla="*/ 0 h 29"/>
                  <a:gd name="T4" fmla="*/ 0 w 15"/>
                  <a:gd name="T5" fmla="*/ 5 h 29"/>
                  <a:gd name="T6" fmla="*/ 0 w 15"/>
                  <a:gd name="T7" fmla="*/ 29 h 29"/>
                  <a:gd name="T8" fmla="*/ 15 w 15"/>
                  <a:gd name="T9" fmla="*/ 29 h 29"/>
                  <a:gd name="T10" fmla="*/ 15 w 15"/>
                  <a:gd name="T11" fmla="*/ 5 h 29"/>
                  <a:gd name="T12" fmla="*/ 9 w 15"/>
                  <a:gd name="T1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29">
                    <a:moveTo>
                      <a:pt x="9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5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15" y="29"/>
                      <a:pt x="15" y="29"/>
                      <a:pt x="15" y="29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2"/>
                      <a:pt x="12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49" name="Freeform 64"/>
              <p:cNvSpPr/>
              <p:nvPr/>
            </p:nvSpPr>
            <p:spPr bwMode="auto">
              <a:xfrm>
                <a:off x="7097713" y="3538538"/>
                <a:ext cx="790575" cy="776287"/>
              </a:xfrm>
              <a:custGeom>
                <a:avLst/>
                <a:gdLst>
                  <a:gd name="T0" fmla="*/ 104 w 208"/>
                  <a:gd name="T1" fmla="*/ 0 h 204"/>
                  <a:gd name="T2" fmla="*/ 0 w 208"/>
                  <a:gd name="T3" fmla="*/ 104 h 204"/>
                  <a:gd name="T4" fmla="*/ 30 w 208"/>
                  <a:gd name="T5" fmla="*/ 178 h 204"/>
                  <a:gd name="T6" fmla="*/ 72 w 208"/>
                  <a:gd name="T7" fmla="*/ 203 h 204"/>
                  <a:gd name="T8" fmla="*/ 75 w 208"/>
                  <a:gd name="T9" fmla="*/ 204 h 204"/>
                  <a:gd name="T10" fmla="*/ 84 w 208"/>
                  <a:gd name="T11" fmla="*/ 197 h 204"/>
                  <a:gd name="T12" fmla="*/ 78 w 208"/>
                  <a:gd name="T13" fmla="*/ 184 h 204"/>
                  <a:gd name="T14" fmla="*/ 45 w 208"/>
                  <a:gd name="T15" fmla="*/ 163 h 204"/>
                  <a:gd name="T16" fmla="*/ 20 w 208"/>
                  <a:gd name="T17" fmla="*/ 104 h 204"/>
                  <a:gd name="T18" fmla="*/ 104 w 208"/>
                  <a:gd name="T19" fmla="*/ 20 h 204"/>
                  <a:gd name="T20" fmla="*/ 188 w 208"/>
                  <a:gd name="T21" fmla="*/ 104 h 204"/>
                  <a:gd name="T22" fmla="*/ 163 w 208"/>
                  <a:gd name="T23" fmla="*/ 164 h 204"/>
                  <a:gd name="T24" fmla="*/ 133 w 208"/>
                  <a:gd name="T25" fmla="*/ 180 h 204"/>
                  <a:gd name="T26" fmla="*/ 122 w 208"/>
                  <a:gd name="T27" fmla="*/ 175 h 204"/>
                  <a:gd name="T28" fmla="*/ 113 w 208"/>
                  <a:gd name="T29" fmla="*/ 140 h 204"/>
                  <a:gd name="T30" fmla="*/ 145 w 208"/>
                  <a:gd name="T31" fmla="*/ 107 h 204"/>
                  <a:gd name="T32" fmla="*/ 145 w 208"/>
                  <a:gd name="T33" fmla="*/ 76 h 204"/>
                  <a:gd name="T34" fmla="*/ 63 w 208"/>
                  <a:gd name="T35" fmla="*/ 76 h 204"/>
                  <a:gd name="T36" fmla="*/ 63 w 208"/>
                  <a:gd name="T37" fmla="*/ 107 h 204"/>
                  <a:gd name="T38" fmla="*/ 93 w 208"/>
                  <a:gd name="T39" fmla="*/ 140 h 204"/>
                  <a:gd name="T40" fmla="*/ 107 w 208"/>
                  <a:gd name="T41" fmla="*/ 189 h 204"/>
                  <a:gd name="T42" fmla="*/ 133 w 208"/>
                  <a:gd name="T43" fmla="*/ 200 h 204"/>
                  <a:gd name="T44" fmla="*/ 177 w 208"/>
                  <a:gd name="T45" fmla="*/ 178 h 204"/>
                  <a:gd name="T46" fmla="*/ 177 w 208"/>
                  <a:gd name="T47" fmla="*/ 178 h 204"/>
                  <a:gd name="T48" fmla="*/ 208 w 208"/>
                  <a:gd name="T49" fmla="*/ 104 h 204"/>
                  <a:gd name="T50" fmla="*/ 104 w 208"/>
                  <a:gd name="T51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08" h="204">
                    <a:moveTo>
                      <a:pt x="104" y="0"/>
                    </a:moveTo>
                    <a:cubicBezTo>
                      <a:pt x="47" y="0"/>
                      <a:pt x="0" y="47"/>
                      <a:pt x="0" y="104"/>
                    </a:cubicBezTo>
                    <a:cubicBezTo>
                      <a:pt x="0" y="132"/>
                      <a:pt x="11" y="158"/>
                      <a:pt x="30" y="178"/>
                    </a:cubicBezTo>
                    <a:cubicBezTo>
                      <a:pt x="42" y="189"/>
                      <a:pt x="56" y="198"/>
                      <a:pt x="72" y="203"/>
                    </a:cubicBezTo>
                    <a:cubicBezTo>
                      <a:pt x="73" y="203"/>
                      <a:pt x="74" y="204"/>
                      <a:pt x="75" y="204"/>
                    </a:cubicBezTo>
                    <a:cubicBezTo>
                      <a:pt x="79" y="204"/>
                      <a:pt x="83" y="201"/>
                      <a:pt x="84" y="197"/>
                    </a:cubicBezTo>
                    <a:cubicBezTo>
                      <a:pt x="86" y="191"/>
                      <a:pt x="83" y="186"/>
                      <a:pt x="78" y="184"/>
                    </a:cubicBezTo>
                    <a:cubicBezTo>
                      <a:pt x="65" y="180"/>
                      <a:pt x="54" y="173"/>
                      <a:pt x="45" y="163"/>
                    </a:cubicBezTo>
                    <a:cubicBezTo>
                      <a:pt x="29" y="148"/>
                      <a:pt x="20" y="127"/>
                      <a:pt x="20" y="104"/>
                    </a:cubicBezTo>
                    <a:cubicBezTo>
                      <a:pt x="20" y="58"/>
                      <a:pt x="58" y="20"/>
                      <a:pt x="104" y="20"/>
                    </a:cubicBezTo>
                    <a:cubicBezTo>
                      <a:pt x="150" y="20"/>
                      <a:pt x="188" y="58"/>
                      <a:pt x="188" y="104"/>
                    </a:cubicBezTo>
                    <a:cubicBezTo>
                      <a:pt x="188" y="127"/>
                      <a:pt x="179" y="148"/>
                      <a:pt x="163" y="164"/>
                    </a:cubicBezTo>
                    <a:cubicBezTo>
                      <a:pt x="157" y="169"/>
                      <a:pt x="142" y="180"/>
                      <a:pt x="133" y="180"/>
                    </a:cubicBezTo>
                    <a:cubicBezTo>
                      <a:pt x="128" y="180"/>
                      <a:pt x="125" y="179"/>
                      <a:pt x="122" y="175"/>
                    </a:cubicBezTo>
                    <a:cubicBezTo>
                      <a:pt x="115" y="167"/>
                      <a:pt x="113" y="151"/>
                      <a:pt x="113" y="140"/>
                    </a:cubicBezTo>
                    <a:cubicBezTo>
                      <a:pt x="131" y="139"/>
                      <a:pt x="145" y="125"/>
                      <a:pt x="145" y="107"/>
                    </a:cubicBezTo>
                    <a:cubicBezTo>
                      <a:pt x="145" y="76"/>
                      <a:pt x="145" y="76"/>
                      <a:pt x="145" y="76"/>
                    </a:cubicBezTo>
                    <a:cubicBezTo>
                      <a:pt x="63" y="76"/>
                      <a:pt x="63" y="76"/>
                      <a:pt x="63" y="76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124"/>
                      <a:pt x="77" y="139"/>
                      <a:pt x="93" y="140"/>
                    </a:cubicBezTo>
                    <a:cubicBezTo>
                      <a:pt x="93" y="153"/>
                      <a:pt x="95" y="175"/>
                      <a:pt x="107" y="189"/>
                    </a:cubicBezTo>
                    <a:cubicBezTo>
                      <a:pt x="114" y="196"/>
                      <a:pt x="123" y="200"/>
                      <a:pt x="133" y="200"/>
                    </a:cubicBezTo>
                    <a:cubicBezTo>
                      <a:pt x="152" y="200"/>
                      <a:pt x="174" y="180"/>
                      <a:pt x="177" y="178"/>
                    </a:cubicBezTo>
                    <a:cubicBezTo>
                      <a:pt x="177" y="178"/>
                      <a:pt x="177" y="178"/>
                      <a:pt x="177" y="178"/>
                    </a:cubicBezTo>
                    <a:cubicBezTo>
                      <a:pt x="197" y="158"/>
                      <a:pt x="208" y="132"/>
                      <a:pt x="208" y="104"/>
                    </a:cubicBezTo>
                    <a:cubicBezTo>
                      <a:pt x="208" y="47"/>
                      <a:pt x="161" y="0"/>
                      <a:pt x="10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</p:grpSp>
        <p:grpSp>
          <p:nvGrpSpPr>
            <p:cNvPr id="50" name="组合 49"/>
            <p:cNvGrpSpPr/>
            <p:nvPr/>
          </p:nvGrpSpPr>
          <p:grpSpPr>
            <a:xfrm rot="0">
              <a:off x="12732" y="3401"/>
              <a:ext cx="303" cy="298"/>
              <a:chOff x="7097713" y="3538538"/>
              <a:chExt cx="790575" cy="776287"/>
            </a:xfrm>
            <a:solidFill>
              <a:srgbClr val="06C245"/>
            </a:solidFill>
          </p:grpSpPr>
          <p:sp>
            <p:nvSpPr>
              <p:cNvPr id="51" name="Freeform 62"/>
              <p:cNvSpPr/>
              <p:nvPr/>
            </p:nvSpPr>
            <p:spPr bwMode="auto">
              <a:xfrm>
                <a:off x="7389813" y="3694113"/>
                <a:ext cx="57150" cy="109537"/>
              </a:xfrm>
              <a:custGeom>
                <a:avLst/>
                <a:gdLst>
                  <a:gd name="T0" fmla="*/ 9 w 15"/>
                  <a:gd name="T1" fmla="*/ 0 h 29"/>
                  <a:gd name="T2" fmla="*/ 6 w 15"/>
                  <a:gd name="T3" fmla="*/ 0 h 29"/>
                  <a:gd name="T4" fmla="*/ 0 w 15"/>
                  <a:gd name="T5" fmla="*/ 5 h 29"/>
                  <a:gd name="T6" fmla="*/ 0 w 15"/>
                  <a:gd name="T7" fmla="*/ 29 h 29"/>
                  <a:gd name="T8" fmla="*/ 15 w 15"/>
                  <a:gd name="T9" fmla="*/ 29 h 29"/>
                  <a:gd name="T10" fmla="*/ 15 w 15"/>
                  <a:gd name="T11" fmla="*/ 5 h 29"/>
                  <a:gd name="T12" fmla="*/ 9 w 15"/>
                  <a:gd name="T1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29">
                    <a:moveTo>
                      <a:pt x="9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5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15" y="29"/>
                      <a:pt x="15" y="29"/>
                      <a:pt x="15" y="29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2"/>
                      <a:pt x="12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52" name="Freeform 63"/>
              <p:cNvSpPr/>
              <p:nvPr/>
            </p:nvSpPr>
            <p:spPr bwMode="auto">
              <a:xfrm>
                <a:off x="7539038" y="3694113"/>
                <a:ext cx="55563" cy="109537"/>
              </a:xfrm>
              <a:custGeom>
                <a:avLst/>
                <a:gdLst>
                  <a:gd name="T0" fmla="*/ 9 w 15"/>
                  <a:gd name="T1" fmla="*/ 0 h 29"/>
                  <a:gd name="T2" fmla="*/ 6 w 15"/>
                  <a:gd name="T3" fmla="*/ 0 h 29"/>
                  <a:gd name="T4" fmla="*/ 0 w 15"/>
                  <a:gd name="T5" fmla="*/ 5 h 29"/>
                  <a:gd name="T6" fmla="*/ 0 w 15"/>
                  <a:gd name="T7" fmla="*/ 29 h 29"/>
                  <a:gd name="T8" fmla="*/ 15 w 15"/>
                  <a:gd name="T9" fmla="*/ 29 h 29"/>
                  <a:gd name="T10" fmla="*/ 15 w 15"/>
                  <a:gd name="T11" fmla="*/ 5 h 29"/>
                  <a:gd name="T12" fmla="*/ 9 w 15"/>
                  <a:gd name="T1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29">
                    <a:moveTo>
                      <a:pt x="9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5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15" y="29"/>
                      <a:pt x="15" y="29"/>
                      <a:pt x="15" y="29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2"/>
                      <a:pt x="12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53" name="Freeform 64"/>
              <p:cNvSpPr/>
              <p:nvPr/>
            </p:nvSpPr>
            <p:spPr bwMode="auto">
              <a:xfrm>
                <a:off x="7097713" y="3538538"/>
                <a:ext cx="790575" cy="776287"/>
              </a:xfrm>
              <a:custGeom>
                <a:avLst/>
                <a:gdLst>
                  <a:gd name="T0" fmla="*/ 104 w 208"/>
                  <a:gd name="T1" fmla="*/ 0 h 204"/>
                  <a:gd name="T2" fmla="*/ 0 w 208"/>
                  <a:gd name="T3" fmla="*/ 104 h 204"/>
                  <a:gd name="T4" fmla="*/ 30 w 208"/>
                  <a:gd name="T5" fmla="*/ 178 h 204"/>
                  <a:gd name="T6" fmla="*/ 72 w 208"/>
                  <a:gd name="T7" fmla="*/ 203 h 204"/>
                  <a:gd name="T8" fmla="*/ 75 w 208"/>
                  <a:gd name="T9" fmla="*/ 204 h 204"/>
                  <a:gd name="T10" fmla="*/ 84 w 208"/>
                  <a:gd name="T11" fmla="*/ 197 h 204"/>
                  <a:gd name="T12" fmla="*/ 78 w 208"/>
                  <a:gd name="T13" fmla="*/ 184 h 204"/>
                  <a:gd name="T14" fmla="*/ 45 w 208"/>
                  <a:gd name="T15" fmla="*/ 163 h 204"/>
                  <a:gd name="T16" fmla="*/ 20 w 208"/>
                  <a:gd name="T17" fmla="*/ 104 h 204"/>
                  <a:gd name="T18" fmla="*/ 104 w 208"/>
                  <a:gd name="T19" fmla="*/ 20 h 204"/>
                  <a:gd name="T20" fmla="*/ 188 w 208"/>
                  <a:gd name="T21" fmla="*/ 104 h 204"/>
                  <a:gd name="T22" fmla="*/ 163 w 208"/>
                  <a:gd name="T23" fmla="*/ 164 h 204"/>
                  <a:gd name="T24" fmla="*/ 133 w 208"/>
                  <a:gd name="T25" fmla="*/ 180 h 204"/>
                  <a:gd name="T26" fmla="*/ 122 w 208"/>
                  <a:gd name="T27" fmla="*/ 175 h 204"/>
                  <a:gd name="T28" fmla="*/ 113 w 208"/>
                  <a:gd name="T29" fmla="*/ 140 h 204"/>
                  <a:gd name="T30" fmla="*/ 145 w 208"/>
                  <a:gd name="T31" fmla="*/ 107 h 204"/>
                  <a:gd name="T32" fmla="*/ 145 w 208"/>
                  <a:gd name="T33" fmla="*/ 76 h 204"/>
                  <a:gd name="T34" fmla="*/ 63 w 208"/>
                  <a:gd name="T35" fmla="*/ 76 h 204"/>
                  <a:gd name="T36" fmla="*/ 63 w 208"/>
                  <a:gd name="T37" fmla="*/ 107 h 204"/>
                  <a:gd name="T38" fmla="*/ 93 w 208"/>
                  <a:gd name="T39" fmla="*/ 140 h 204"/>
                  <a:gd name="T40" fmla="*/ 107 w 208"/>
                  <a:gd name="T41" fmla="*/ 189 h 204"/>
                  <a:gd name="T42" fmla="*/ 133 w 208"/>
                  <a:gd name="T43" fmla="*/ 200 h 204"/>
                  <a:gd name="T44" fmla="*/ 177 w 208"/>
                  <a:gd name="T45" fmla="*/ 178 h 204"/>
                  <a:gd name="T46" fmla="*/ 177 w 208"/>
                  <a:gd name="T47" fmla="*/ 178 h 204"/>
                  <a:gd name="T48" fmla="*/ 208 w 208"/>
                  <a:gd name="T49" fmla="*/ 104 h 204"/>
                  <a:gd name="T50" fmla="*/ 104 w 208"/>
                  <a:gd name="T51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08" h="204">
                    <a:moveTo>
                      <a:pt x="104" y="0"/>
                    </a:moveTo>
                    <a:cubicBezTo>
                      <a:pt x="47" y="0"/>
                      <a:pt x="0" y="47"/>
                      <a:pt x="0" y="104"/>
                    </a:cubicBezTo>
                    <a:cubicBezTo>
                      <a:pt x="0" y="132"/>
                      <a:pt x="11" y="158"/>
                      <a:pt x="30" y="178"/>
                    </a:cubicBezTo>
                    <a:cubicBezTo>
                      <a:pt x="42" y="189"/>
                      <a:pt x="56" y="198"/>
                      <a:pt x="72" y="203"/>
                    </a:cubicBezTo>
                    <a:cubicBezTo>
                      <a:pt x="73" y="203"/>
                      <a:pt x="74" y="204"/>
                      <a:pt x="75" y="204"/>
                    </a:cubicBezTo>
                    <a:cubicBezTo>
                      <a:pt x="79" y="204"/>
                      <a:pt x="83" y="201"/>
                      <a:pt x="84" y="197"/>
                    </a:cubicBezTo>
                    <a:cubicBezTo>
                      <a:pt x="86" y="191"/>
                      <a:pt x="83" y="186"/>
                      <a:pt x="78" y="184"/>
                    </a:cubicBezTo>
                    <a:cubicBezTo>
                      <a:pt x="65" y="180"/>
                      <a:pt x="54" y="173"/>
                      <a:pt x="45" y="163"/>
                    </a:cubicBezTo>
                    <a:cubicBezTo>
                      <a:pt x="29" y="148"/>
                      <a:pt x="20" y="127"/>
                      <a:pt x="20" y="104"/>
                    </a:cubicBezTo>
                    <a:cubicBezTo>
                      <a:pt x="20" y="58"/>
                      <a:pt x="58" y="20"/>
                      <a:pt x="104" y="20"/>
                    </a:cubicBezTo>
                    <a:cubicBezTo>
                      <a:pt x="150" y="20"/>
                      <a:pt x="188" y="58"/>
                      <a:pt x="188" y="104"/>
                    </a:cubicBezTo>
                    <a:cubicBezTo>
                      <a:pt x="188" y="127"/>
                      <a:pt x="179" y="148"/>
                      <a:pt x="163" y="164"/>
                    </a:cubicBezTo>
                    <a:cubicBezTo>
                      <a:pt x="157" y="169"/>
                      <a:pt x="142" y="180"/>
                      <a:pt x="133" y="180"/>
                    </a:cubicBezTo>
                    <a:cubicBezTo>
                      <a:pt x="128" y="180"/>
                      <a:pt x="125" y="179"/>
                      <a:pt x="122" y="175"/>
                    </a:cubicBezTo>
                    <a:cubicBezTo>
                      <a:pt x="115" y="167"/>
                      <a:pt x="113" y="151"/>
                      <a:pt x="113" y="140"/>
                    </a:cubicBezTo>
                    <a:cubicBezTo>
                      <a:pt x="131" y="139"/>
                      <a:pt x="145" y="125"/>
                      <a:pt x="145" y="107"/>
                    </a:cubicBezTo>
                    <a:cubicBezTo>
                      <a:pt x="145" y="76"/>
                      <a:pt x="145" y="76"/>
                      <a:pt x="145" y="76"/>
                    </a:cubicBezTo>
                    <a:cubicBezTo>
                      <a:pt x="63" y="76"/>
                      <a:pt x="63" y="76"/>
                      <a:pt x="63" y="76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124"/>
                      <a:pt x="77" y="139"/>
                      <a:pt x="93" y="140"/>
                    </a:cubicBezTo>
                    <a:cubicBezTo>
                      <a:pt x="93" y="153"/>
                      <a:pt x="95" y="175"/>
                      <a:pt x="107" y="189"/>
                    </a:cubicBezTo>
                    <a:cubicBezTo>
                      <a:pt x="114" y="196"/>
                      <a:pt x="123" y="200"/>
                      <a:pt x="133" y="200"/>
                    </a:cubicBezTo>
                    <a:cubicBezTo>
                      <a:pt x="152" y="200"/>
                      <a:pt x="174" y="180"/>
                      <a:pt x="177" y="178"/>
                    </a:cubicBezTo>
                    <a:cubicBezTo>
                      <a:pt x="177" y="178"/>
                      <a:pt x="177" y="178"/>
                      <a:pt x="177" y="178"/>
                    </a:cubicBezTo>
                    <a:cubicBezTo>
                      <a:pt x="197" y="158"/>
                      <a:pt x="208" y="132"/>
                      <a:pt x="208" y="104"/>
                    </a:cubicBezTo>
                    <a:cubicBezTo>
                      <a:pt x="208" y="47"/>
                      <a:pt x="161" y="0"/>
                      <a:pt x="10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</p:grpSp>
        <p:grpSp>
          <p:nvGrpSpPr>
            <p:cNvPr id="54" name="组合 53"/>
            <p:cNvGrpSpPr/>
            <p:nvPr/>
          </p:nvGrpSpPr>
          <p:grpSpPr>
            <a:xfrm rot="0">
              <a:off x="12429" y="5702"/>
              <a:ext cx="303" cy="298"/>
              <a:chOff x="7097713" y="3538538"/>
              <a:chExt cx="790575" cy="776287"/>
            </a:xfrm>
            <a:solidFill>
              <a:srgbClr val="06C245"/>
            </a:solidFill>
          </p:grpSpPr>
          <p:sp>
            <p:nvSpPr>
              <p:cNvPr id="55" name="Freeform 62"/>
              <p:cNvSpPr/>
              <p:nvPr/>
            </p:nvSpPr>
            <p:spPr bwMode="auto">
              <a:xfrm>
                <a:off x="7389813" y="3694113"/>
                <a:ext cx="57150" cy="109537"/>
              </a:xfrm>
              <a:custGeom>
                <a:avLst/>
                <a:gdLst>
                  <a:gd name="T0" fmla="*/ 9 w 15"/>
                  <a:gd name="T1" fmla="*/ 0 h 29"/>
                  <a:gd name="T2" fmla="*/ 6 w 15"/>
                  <a:gd name="T3" fmla="*/ 0 h 29"/>
                  <a:gd name="T4" fmla="*/ 0 w 15"/>
                  <a:gd name="T5" fmla="*/ 5 h 29"/>
                  <a:gd name="T6" fmla="*/ 0 w 15"/>
                  <a:gd name="T7" fmla="*/ 29 h 29"/>
                  <a:gd name="T8" fmla="*/ 15 w 15"/>
                  <a:gd name="T9" fmla="*/ 29 h 29"/>
                  <a:gd name="T10" fmla="*/ 15 w 15"/>
                  <a:gd name="T11" fmla="*/ 5 h 29"/>
                  <a:gd name="T12" fmla="*/ 9 w 15"/>
                  <a:gd name="T1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29">
                    <a:moveTo>
                      <a:pt x="9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5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15" y="29"/>
                      <a:pt x="15" y="29"/>
                      <a:pt x="15" y="29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2"/>
                      <a:pt x="12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56" name="Freeform 63"/>
              <p:cNvSpPr/>
              <p:nvPr/>
            </p:nvSpPr>
            <p:spPr bwMode="auto">
              <a:xfrm>
                <a:off x="7539038" y="3694113"/>
                <a:ext cx="55563" cy="109537"/>
              </a:xfrm>
              <a:custGeom>
                <a:avLst/>
                <a:gdLst>
                  <a:gd name="T0" fmla="*/ 9 w 15"/>
                  <a:gd name="T1" fmla="*/ 0 h 29"/>
                  <a:gd name="T2" fmla="*/ 6 w 15"/>
                  <a:gd name="T3" fmla="*/ 0 h 29"/>
                  <a:gd name="T4" fmla="*/ 0 w 15"/>
                  <a:gd name="T5" fmla="*/ 5 h 29"/>
                  <a:gd name="T6" fmla="*/ 0 w 15"/>
                  <a:gd name="T7" fmla="*/ 29 h 29"/>
                  <a:gd name="T8" fmla="*/ 15 w 15"/>
                  <a:gd name="T9" fmla="*/ 29 h 29"/>
                  <a:gd name="T10" fmla="*/ 15 w 15"/>
                  <a:gd name="T11" fmla="*/ 5 h 29"/>
                  <a:gd name="T12" fmla="*/ 9 w 15"/>
                  <a:gd name="T1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29">
                    <a:moveTo>
                      <a:pt x="9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5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15" y="29"/>
                      <a:pt x="15" y="29"/>
                      <a:pt x="15" y="29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2"/>
                      <a:pt x="12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57" name="Freeform 64"/>
              <p:cNvSpPr/>
              <p:nvPr/>
            </p:nvSpPr>
            <p:spPr bwMode="auto">
              <a:xfrm>
                <a:off x="7097713" y="3538538"/>
                <a:ext cx="790575" cy="776287"/>
              </a:xfrm>
              <a:custGeom>
                <a:avLst/>
                <a:gdLst>
                  <a:gd name="T0" fmla="*/ 104 w 208"/>
                  <a:gd name="T1" fmla="*/ 0 h 204"/>
                  <a:gd name="T2" fmla="*/ 0 w 208"/>
                  <a:gd name="T3" fmla="*/ 104 h 204"/>
                  <a:gd name="T4" fmla="*/ 30 w 208"/>
                  <a:gd name="T5" fmla="*/ 178 h 204"/>
                  <a:gd name="T6" fmla="*/ 72 w 208"/>
                  <a:gd name="T7" fmla="*/ 203 h 204"/>
                  <a:gd name="T8" fmla="*/ 75 w 208"/>
                  <a:gd name="T9" fmla="*/ 204 h 204"/>
                  <a:gd name="T10" fmla="*/ 84 w 208"/>
                  <a:gd name="T11" fmla="*/ 197 h 204"/>
                  <a:gd name="T12" fmla="*/ 78 w 208"/>
                  <a:gd name="T13" fmla="*/ 184 h 204"/>
                  <a:gd name="T14" fmla="*/ 45 w 208"/>
                  <a:gd name="T15" fmla="*/ 163 h 204"/>
                  <a:gd name="T16" fmla="*/ 20 w 208"/>
                  <a:gd name="T17" fmla="*/ 104 h 204"/>
                  <a:gd name="T18" fmla="*/ 104 w 208"/>
                  <a:gd name="T19" fmla="*/ 20 h 204"/>
                  <a:gd name="T20" fmla="*/ 188 w 208"/>
                  <a:gd name="T21" fmla="*/ 104 h 204"/>
                  <a:gd name="T22" fmla="*/ 163 w 208"/>
                  <a:gd name="T23" fmla="*/ 164 h 204"/>
                  <a:gd name="T24" fmla="*/ 133 w 208"/>
                  <a:gd name="T25" fmla="*/ 180 h 204"/>
                  <a:gd name="T26" fmla="*/ 122 w 208"/>
                  <a:gd name="T27" fmla="*/ 175 h 204"/>
                  <a:gd name="T28" fmla="*/ 113 w 208"/>
                  <a:gd name="T29" fmla="*/ 140 h 204"/>
                  <a:gd name="T30" fmla="*/ 145 w 208"/>
                  <a:gd name="T31" fmla="*/ 107 h 204"/>
                  <a:gd name="T32" fmla="*/ 145 w 208"/>
                  <a:gd name="T33" fmla="*/ 76 h 204"/>
                  <a:gd name="T34" fmla="*/ 63 w 208"/>
                  <a:gd name="T35" fmla="*/ 76 h 204"/>
                  <a:gd name="T36" fmla="*/ 63 w 208"/>
                  <a:gd name="T37" fmla="*/ 107 h 204"/>
                  <a:gd name="T38" fmla="*/ 93 w 208"/>
                  <a:gd name="T39" fmla="*/ 140 h 204"/>
                  <a:gd name="T40" fmla="*/ 107 w 208"/>
                  <a:gd name="T41" fmla="*/ 189 h 204"/>
                  <a:gd name="T42" fmla="*/ 133 w 208"/>
                  <a:gd name="T43" fmla="*/ 200 h 204"/>
                  <a:gd name="T44" fmla="*/ 177 w 208"/>
                  <a:gd name="T45" fmla="*/ 178 h 204"/>
                  <a:gd name="T46" fmla="*/ 177 w 208"/>
                  <a:gd name="T47" fmla="*/ 178 h 204"/>
                  <a:gd name="T48" fmla="*/ 208 w 208"/>
                  <a:gd name="T49" fmla="*/ 104 h 204"/>
                  <a:gd name="T50" fmla="*/ 104 w 208"/>
                  <a:gd name="T51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08" h="204">
                    <a:moveTo>
                      <a:pt x="104" y="0"/>
                    </a:moveTo>
                    <a:cubicBezTo>
                      <a:pt x="47" y="0"/>
                      <a:pt x="0" y="47"/>
                      <a:pt x="0" y="104"/>
                    </a:cubicBezTo>
                    <a:cubicBezTo>
                      <a:pt x="0" y="132"/>
                      <a:pt x="11" y="158"/>
                      <a:pt x="30" y="178"/>
                    </a:cubicBezTo>
                    <a:cubicBezTo>
                      <a:pt x="42" y="189"/>
                      <a:pt x="56" y="198"/>
                      <a:pt x="72" y="203"/>
                    </a:cubicBezTo>
                    <a:cubicBezTo>
                      <a:pt x="73" y="203"/>
                      <a:pt x="74" y="204"/>
                      <a:pt x="75" y="204"/>
                    </a:cubicBezTo>
                    <a:cubicBezTo>
                      <a:pt x="79" y="204"/>
                      <a:pt x="83" y="201"/>
                      <a:pt x="84" y="197"/>
                    </a:cubicBezTo>
                    <a:cubicBezTo>
                      <a:pt x="86" y="191"/>
                      <a:pt x="83" y="186"/>
                      <a:pt x="78" y="184"/>
                    </a:cubicBezTo>
                    <a:cubicBezTo>
                      <a:pt x="65" y="180"/>
                      <a:pt x="54" y="173"/>
                      <a:pt x="45" y="163"/>
                    </a:cubicBezTo>
                    <a:cubicBezTo>
                      <a:pt x="29" y="148"/>
                      <a:pt x="20" y="127"/>
                      <a:pt x="20" y="104"/>
                    </a:cubicBezTo>
                    <a:cubicBezTo>
                      <a:pt x="20" y="58"/>
                      <a:pt x="58" y="20"/>
                      <a:pt x="104" y="20"/>
                    </a:cubicBezTo>
                    <a:cubicBezTo>
                      <a:pt x="150" y="20"/>
                      <a:pt x="188" y="58"/>
                      <a:pt x="188" y="104"/>
                    </a:cubicBezTo>
                    <a:cubicBezTo>
                      <a:pt x="188" y="127"/>
                      <a:pt x="179" y="148"/>
                      <a:pt x="163" y="164"/>
                    </a:cubicBezTo>
                    <a:cubicBezTo>
                      <a:pt x="157" y="169"/>
                      <a:pt x="142" y="180"/>
                      <a:pt x="133" y="180"/>
                    </a:cubicBezTo>
                    <a:cubicBezTo>
                      <a:pt x="128" y="180"/>
                      <a:pt x="125" y="179"/>
                      <a:pt x="122" y="175"/>
                    </a:cubicBezTo>
                    <a:cubicBezTo>
                      <a:pt x="115" y="167"/>
                      <a:pt x="113" y="151"/>
                      <a:pt x="113" y="140"/>
                    </a:cubicBezTo>
                    <a:cubicBezTo>
                      <a:pt x="131" y="139"/>
                      <a:pt x="145" y="125"/>
                      <a:pt x="145" y="107"/>
                    </a:cubicBezTo>
                    <a:cubicBezTo>
                      <a:pt x="145" y="76"/>
                      <a:pt x="145" y="76"/>
                      <a:pt x="145" y="76"/>
                    </a:cubicBezTo>
                    <a:cubicBezTo>
                      <a:pt x="63" y="76"/>
                      <a:pt x="63" y="76"/>
                      <a:pt x="63" y="76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124"/>
                      <a:pt x="77" y="139"/>
                      <a:pt x="93" y="140"/>
                    </a:cubicBezTo>
                    <a:cubicBezTo>
                      <a:pt x="93" y="153"/>
                      <a:pt x="95" y="175"/>
                      <a:pt x="107" y="189"/>
                    </a:cubicBezTo>
                    <a:cubicBezTo>
                      <a:pt x="114" y="196"/>
                      <a:pt x="123" y="200"/>
                      <a:pt x="133" y="200"/>
                    </a:cubicBezTo>
                    <a:cubicBezTo>
                      <a:pt x="152" y="200"/>
                      <a:pt x="174" y="180"/>
                      <a:pt x="177" y="178"/>
                    </a:cubicBezTo>
                    <a:cubicBezTo>
                      <a:pt x="177" y="178"/>
                      <a:pt x="177" y="178"/>
                      <a:pt x="177" y="178"/>
                    </a:cubicBezTo>
                    <a:cubicBezTo>
                      <a:pt x="197" y="158"/>
                      <a:pt x="208" y="132"/>
                      <a:pt x="208" y="104"/>
                    </a:cubicBezTo>
                    <a:cubicBezTo>
                      <a:pt x="208" y="47"/>
                      <a:pt x="161" y="0"/>
                      <a:pt x="10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</p:grpSp>
      </p:grpSp>
    </p:spTree>
  </p:cSld>
  <p:clrMapOvr>
    <a:masterClrMapping/>
  </p:clrMapOvr>
  <p:transition>
    <p:comb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7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16" dur="80"/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17" dur="80"/>
                                        <p:tgtEl>
                                          <p:spTgt spid="2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8" dur="80"/>
                                        <p:tgtEl>
                                          <p:spTgt spid="2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7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23" dur="80"/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24" dur="80"/>
                                        <p:tgtEl>
                                          <p:spTgt spid="23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5" dur="80"/>
                                        <p:tgtEl>
                                          <p:spTgt spid="23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7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30" dur="80"/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31" dur="80"/>
                                        <p:tgtEl>
                                          <p:spTgt spid="23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80"/>
                                        <p:tgtEl>
                                          <p:spTgt spid="23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7" grpId="0"/>
      <p:bldP spid="227" grpId="1"/>
      <p:bldP spid="231" grpId="0"/>
      <p:bldP spid="231" grpId="1"/>
      <p:bldP spid="235" grpId="0"/>
      <p:bldP spid="235" grpId="1"/>
    </p:bldLst>
  </p:timing>
</p:sld>
</file>

<file path=ppt/tags/tag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i"/>
  <p:tag name="KSO_WM_UNIT_INDEX" val="1_1"/>
  <p:tag name="KSO_WM_UNIT_ID" val="diagram20200181_3*m_i*1_1"/>
  <p:tag name="KSO_WM_TEMPLATE_CATEGORY" val="diagram"/>
  <p:tag name="KSO_WM_TEMPLATE_INDEX" val="20200181"/>
  <p:tag name="KSO_WM_UNIT_LAYERLEVEL" val="1_1"/>
  <p:tag name="KSO_WM_TAG_VERSION" val="1.0"/>
  <p:tag name="KSO_WM_BEAUTIFY_FLAG" val="#wm#"/>
  <p:tag name="KSO_WM_UNIT_LINE_FORE_SCHEMECOLOR_INDEX" val="14"/>
  <p:tag name="KSO_WM_UNIT_LINE_FILL_TYPE" val="2"/>
</p:tagLst>
</file>

<file path=ppt/tags/tag10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a"/>
  <p:tag name="KSO_WM_UNIT_INDEX" val="1_3_1"/>
  <p:tag name="KSO_WM_UNIT_ID" val="diagram20200181_3*m_h_a*1_3_1"/>
  <p:tag name="KSO_WM_TEMPLATE_CATEGORY" val="diagram"/>
  <p:tag name="KSO_WM_TEMPLATE_INDEX" val="20200181"/>
  <p:tag name="KSO_WM_UNIT_LAYERLEVEL" val="1_1_1"/>
  <p:tag name="KSO_WM_TAG_VERSION" val="1.0"/>
  <p:tag name="KSO_WM_BEAUTIFY_FLAG" val="#wm#"/>
  <p:tag name="KSO_WM_UNIT_VALUE" val="15"/>
  <p:tag name="KSO_WM_UNIT_PRESET_TEXT" val="单击此处添加标题"/>
  <p:tag name="KSO_WM_UNIT_TEXT_FILL_FORE_SCHEMECOLOR_INDEX" val="13"/>
  <p:tag name="KSO_WM_UNIT_TEXT_FILL_TYPE" val="1"/>
</p:tagLst>
</file>

<file path=ppt/tags/tag10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1_7"/>
  <p:tag name="KSO_WM_UNIT_ID" val="diagram20200184_2*m_h_i*1_1_7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10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i"/>
  <p:tag name="KSO_WM_UNIT_INDEX" val="2"/>
  <p:tag name="KSO_WM_UNIT_ID" val="diagram20200184_2*i*2"/>
  <p:tag name="KSO_WM_TEMPLATE_CATEGORY" val="diagram"/>
  <p:tag name="KSO_WM_TEMPLATE_INDEX" val="20200184"/>
  <p:tag name="KSO_WM_UNIT_LAYERLEVEL" val="1"/>
  <p:tag name="KSO_WM_TAG_VERSION" val="1.0"/>
  <p:tag name="KSO_WM_BEAUTIFY_FLAG" val="#wm#"/>
  <p:tag name="KSO_WM_UNIT_FILL_FORE_SCHEMECOLOR_INDEX" val="14"/>
  <p:tag name="KSO_WM_UNIT_FILL_TYPE" val="1"/>
</p:tagLst>
</file>

<file path=ppt/tags/tag10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x"/>
  <p:tag name="KSO_WM_UNIT_INDEX" val="1_1_1"/>
  <p:tag name="KSO_WM_UNIT_ID" val="diagram20200184_2*m_h_x*1_1_1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VALUE" val="104*104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10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x"/>
  <p:tag name="KSO_WM_UNIT_INDEX" val="1_1_2"/>
  <p:tag name="KSO_WM_UNIT_ID" val="diagram20200184_2*m_h_x*1_1_2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VALUE" val="24*24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10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i"/>
  <p:tag name="KSO_WM_UNIT_INDEX" val="3"/>
  <p:tag name="KSO_WM_UNIT_ID" val="diagram20200184_2*i*3"/>
  <p:tag name="KSO_WM_TEMPLATE_CATEGORY" val="diagram"/>
  <p:tag name="KSO_WM_TEMPLATE_INDEX" val="20200184"/>
  <p:tag name="KSO_WM_UNIT_LAYERLEVEL" val="1"/>
  <p:tag name="KSO_WM_TAG_VERSION" val="1.0"/>
  <p:tag name="KSO_WM_BEAUTIFY_FLAG" val="#wm#"/>
  <p:tag name="KSO_WM_UNIT_LINE_FORE_SCHEMECOLOR_INDEX" val="14"/>
  <p:tag name="KSO_WM_UNIT_LINE_FILL_TYPE" val="2"/>
</p:tagLst>
</file>

<file path=ppt/tags/tag10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2_3"/>
  <p:tag name="KSO_WM_UNIT_ID" val="diagram20200184_2*m_h_i*1_2_3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LINE_FORE_SCHEMECOLOR_INDEX" val="14"/>
  <p:tag name="KSO_WM_UNIT_LINE_FILL_TYPE" val="2"/>
</p:tagLst>
</file>

<file path=ppt/tags/tag10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2_4"/>
  <p:tag name="KSO_WM_UNIT_ID" val="diagram20200184_2*m_h_i*1_2_4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LINE_FORE_SCHEMECOLOR_INDEX" val="14"/>
  <p:tag name="KSO_WM_UNIT_LINE_FILL_TYPE" val="2"/>
</p:tagLst>
</file>

<file path=ppt/tags/tag10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2_5"/>
  <p:tag name="KSO_WM_UNIT_ID" val="diagram20200184_2*m_h_i*1_2_5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2"/>
  <p:tag name="KSO_WM_UNIT_TEXT_FILL_TYPE" val="1"/>
</p:tagLst>
</file>

<file path=ppt/tags/tag10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3_3"/>
  <p:tag name="KSO_WM_UNIT_ID" val="diagram20200184_2*m_h_i*1_3_3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LINE_FORE_SCHEMECOLOR_INDEX" val="14"/>
  <p:tag name="KSO_WM_UNIT_LINE_FILL_TYPE" val="2"/>
</p:tagLst>
</file>

<file path=ppt/tags/tag10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3_4"/>
  <p:tag name="KSO_WM_UNIT_ID" val="diagram20200184_2*m_h_i*1_3_4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2"/>
  <p:tag name="KSO_WM_UNIT_TEXT_FILL_TYPE" val="1"/>
</p:tagLst>
</file>

<file path=ppt/tags/tag11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h_a"/>
  <p:tag name="KSO_WM_UNIT_INDEX" val="1_3_1_1"/>
  <p:tag name="KSO_WM_UNIT_ID" val="diagram20200181_3*m_h_h_a*1_3_1_1"/>
  <p:tag name="KSO_WM_TEMPLATE_CATEGORY" val="diagram"/>
  <p:tag name="KSO_WM_TEMPLATE_INDEX" val="20200181"/>
  <p:tag name="KSO_WM_UNIT_LAYERLEVEL" val="1_1_1_1"/>
  <p:tag name="KSO_WM_TAG_VERSION" val="1.0"/>
  <p:tag name="KSO_WM_BEAUTIFY_FLAG" val="#wm#"/>
  <p:tag name="KSO_WM_UNIT_VALUE" val="15"/>
  <p:tag name="KSO_WM_UNIT_PRESET_TEXT" val="单击此处添加文本"/>
  <p:tag name="KSO_WM_UNIT_TEXT_FILL_FORE_SCHEMECOLOR_INDEX" val="5"/>
  <p:tag name="KSO_WM_UNIT_TEXT_FILL_TYPE" val="1"/>
</p:tagLst>
</file>

<file path=ppt/tags/tag11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3_5"/>
  <p:tag name="KSO_WM_UNIT_ID" val="diagram20200184_2*m_h_i*1_3_5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11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i"/>
  <p:tag name="KSO_WM_UNIT_INDEX" val="4"/>
  <p:tag name="KSO_WM_UNIT_ID" val="diagram20200184_2*i*4"/>
  <p:tag name="KSO_WM_TEMPLATE_CATEGORY" val="diagram"/>
  <p:tag name="KSO_WM_TEMPLATE_INDEX" val="20200184"/>
  <p:tag name="KSO_WM_UNIT_LAYERLEVEL" val="1"/>
  <p:tag name="KSO_WM_TAG_VERSION" val="1.0"/>
  <p:tag name="KSO_WM_BEAUTIFY_FLAG" val="#wm#"/>
  <p:tag name="KSO_WM_UNIT_FILL_FORE_SCHEMECOLOR_INDEX" val="14"/>
  <p:tag name="KSO_WM_UNIT_FILL_TYPE" val="1"/>
</p:tagLst>
</file>

<file path=ppt/tags/tag11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x"/>
  <p:tag name="KSO_WM_UNIT_INDEX" val="1_3_1"/>
  <p:tag name="KSO_WM_UNIT_ID" val="diagram20200184_2*m_h_x*1_3_1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VALUE" val="52*79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11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x"/>
  <p:tag name="KSO_WM_UNIT_INDEX" val="1_3_2"/>
  <p:tag name="KSO_WM_UNIT_ID" val="diagram20200184_2*m_h_x*1_3_2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VALUE" val="98*105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11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2_6"/>
  <p:tag name="KSO_WM_UNIT_ID" val="diagram20200184_2*m_h_i*1_2_6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11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x"/>
  <p:tag name="KSO_WM_UNIT_INDEX" val="1_2_1"/>
  <p:tag name="KSO_WM_UNIT_ID" val="diagram20200184_2*m_h_x*1_2_1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VALUE" val="102*102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116.xml><?xml version="1.0" encoding="utf-8"?>
<p:tagLst xmlns:p="http://schemas.openxmlformats.org/presentationml/2006/main"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f"/>
  <p:tag name="KSO_WM_UNIT_INDEX" val="1_3_1"/>
  <p:tag name="KSO_WM_UNIT_ID" val="diagram20200184_2*m_h_f*1_3_1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VALUE" val="42"/>
  <p:tag name="KSO_WM_UNIT_SHOW_EDIT_AREA_INDICATION" val="0"/>
  <p:tag name="KSO_WM_UNIT_TEXT_FILL_FORE_SCHEMECOLOR_INDEX" val="14"/>
  <p:tag name="KSO_WM_UNIT_TEXT_FILL_TYPE" val="1"/>
</p:tagLst>
</file>

<file path=ppt/tags/tag117.xml><?xml version="1.0" encoding="utf-8"?>
<p:tagLst xmlns:p="http://schemas.openxmlformats.org/presentationml/2006/main"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f"/>
  <p:tag name="KSO_WM_UNIT_INDEX" val="1_1_1"/>
  <p:tag name="KSO_WM_UNIT_ID" val="diagram20200184_2*m_h_f*1_1_1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VALUE" val="42"/>
  <p:tag name="KSO_WM_UNIT_SHOW_EDIT_AREA_INDICATION" val="0"/>
  <p:tag name="KSO_WM_UNIT_TEXT_FILL_FORE_SCHEMECOLOR_INDEX" val="14"/>
  <p:tag name="KSO_WM_UNIT_TEXT_FILL_TYPE" val="1"/>
</p:tagLst>
</file>

<file path=ppt/tags/tag118.xml><?xml version="1.0" encoding="utf-8"?>
<p:tagLst xmlns:p="http://schemas.openxmlformats.org/presentationml/2006/main"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f"/>
  <p:tag name="KSO_WM_UNIT_INDEX" val="1_2_1"/>
  <p:tag name="KSO_WM_UNIT_ID" val="diagram20200184_2*m_h_f*1_2_1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PRESET_TEXT" val="单击此处添加文本具体内容，简明扼要的阐述您的观点。"/>
  <p:tag name="KSO_WM_UNIT_VALUE" val="42"/>
  <p:tag name="KSO_WM_UNIT_SHOW_EDIT_AREA_INDICATION" val="0"/>
  <p:tag name="KSO_WM_UNIT_TEXT_FILL_FORE_SCHEMECOLOR_INDEX" val="14"/>
  <p:tag name="KSO_WM_UNIT_TEXT_FILL_TYPE" val="1"/>
</p:tagLst>
</file>

<file path=ppt/tags/tag119.xml><?xml version="1.0" encoding="utf-8"?>
<p:tagLst xmlns:p="http://schemas.openxmlformats.org/presentationml/2006/main">
  <p:tag name="KSO_WM_SLIDE_MODEL_TYPE" val="numdgm"/>
</p:tagLst>
</file>

<file path=ppt/tags/tag1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2_3"/>
  <p:tag name="KSO_WM_UNIT_ID" val="diagram20200181_3*m_h_i*1_2_3"/>
  <p:tag name="KSO_WM_TEMPLATE_CATEGORY" val="diagram"/>
  <p:tag name="KSO_WM_TEMPLATE_INDEX" val="20200181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LINE_FORE_SCHEMECOLOR_INDEX" val="14"/>
  <p:tag name="KSO_WM_UNIT_LINE_FILL_TYPE" val="2"/>
  <p:tag name="KSO_WM_UNIT_TEXT_FILL_FORE_SCHEMECOLOR_INDEX" val="2"/>
  <p:tag name="KSO_WM_UNIT_TEXT_FILL_TYPE" val="1"/>
</p:tagLst>
</file>

<file path=ppt/tags/tag120.xml><?xml version="1.0" encoding="utf-8"?>
<p:tagLst xmlns:p="http://schemas.openxmlformats.org/presentationml/2006/main">
  <p:tag name="THINKCELLSHAPEDONOTDELETE" val="pffKPJ6LOU0CzfgqS0LoQkg"/>
</p:tagLst>
</file>

<file path=ppt/tags/tag121.xml><?xml version="1.0" encoding="utf-8"?>
<p:tagLst xmlns:p="http://schemas.openxmlformats.org/presentationml/2006/main">
  <p:tag name="THINKCELLSHAPEDONOTDELETE" val="p5RnfddOpUEWWKASLU102Fw"/>
</p:tagLst>
</file>

<file path=ppt/tags/tag122.xml><?xml version="1.0" encoding="utf-8"?>
<p:tagLst xmlns:p="http://schemas.openxmlformats.org/presentationml/2006/main">
  <p:tag name="THINKCELLSHAPEDONOTDELETE" val="pMNr3NdZ8XkqtMAP1iCTN5Q"/>
</p:tagLst>
</file>

<file path=ppt/tags/tag123.xml><?xml version="1.0" encoding="utf-8"?>
<p:tagLst xmlns:p="http://schemas.openxmlformats.org/presentationml/2006/main">
  <p:tag name="THINKCELLSHAPEDONOTDELETE" val="pDbxjlexDCEexl3MbOpH2fQ"/>
</p:tagLst>
</file>

<file path=ppt/tags/tag124.xml><?xml version="1.0" encoding="utf-8"?>
<p:tagLst xmlns:p="http://schemas.openxmlformats.org/presentationml/2006/main">
  <p:tag name="THINKCELLSHAPEDONOTDELETE" val="pH3QoBr8ZPUedA97SJ7iYlA"/>
</p:tagLst>
</file>

<file path=ppt/tags/tag125.xml><?xml version="1.0" encoding="utf-8"?>
<p:tagLst xmlns:p="http://schemas.openxmlformats.org/presentationml/2006/main">
  <p:tag name="THINKCELLSHAPEDONOTDELETE" val="plKRNqAy9O0KkkxXfnJ1hkQ"/>
</p:tagLst>
</file>

<file path=ppt/tags/tag126.xml><?xml version="1.0" encoding="utf-8"?>
<p:tagLst xmlns:p="http://schemas.openxmlformats.org/presentationml/2006/main">
  <p:tag name="THINKCELLSHAPEDONOTDELETE" val="pGTIyjRKpNk6.ezbmHUyLCw"/>
</p:tagLst>
</file>

<file path=ppt/tags/tag127.xml><?xml version="1.0" encoding="utf-8"?>
<p:tagLst xmlns:p="http://schemas.openxmlformats.org/presentationml/2006/main">
  <p:tag name="THINKCELLSHAPEDONOTDELETE" val="pHtpRjbKPhUuRqLuUcwLpdg"/>
</p:tagLst>
</file>

<file path=ppt/tags/tag128.xml><?xml version="1.0" encoding="utf-8"?>
<p:tagLst xmlns:p="http://schemas.openxmlformats.org/presentationml/2006/main">
  <p:tag name="THINKCELLSHAPEDONOTDELETE" val="pt.d2MhCzokqrW7MF_wzZ9Q"/>
</p:tagLst>
</file>

<file path=ppt/tags/tag129.xml><?xml version="1.0" encoding="utf-8"?>
<p:tagLst xmlns:p="http://schemas.openxmlformats.org/presentationml/2006/main">
  <p:tag name="THINKCELLSHAPEDONOTDELETE" val="pCCIebUegAUmvqbV2eHxyhg"/>
</p:tagLst>
</file>

<file path=ppt/tags/tag1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4_1"/>
  <p:tag name="KSO_WM_UNIT_ID" val="diagram20200181_3*m_h_i*1_4_1"/>
  <p:tag name="KSO_WM_TEMPLATE_CATEGORY" val="diagram"/>
  <p:tag name="KSO_WM_TEMPLATE_INDEX" val="20200181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LINE_FORE_SCHEMECOLOR_INDEX" val="14"/>
  <p:tag name="KSO_WM_UNIT_LINE_FILL_TYPE" val="2"/>
  <p:tag name="KSO_WM_UNIT_TEXT_FILL_FORE_SCHEMECOLOR_INDEX" val="2"/>
  <p:tag name="KSO_WM_UNIT_TEXT_FILL_TYPE" val="1"/>
</p:tagLst>
</file>

<file path=ppt/tags/tag130.xml><?xml version="1.0" encoding="utf-8"?>
<p:tagLst xmlns:p="http://schemas.openxmlformats.org/presentationml/2006/main">
  <p:tag name="THINKCELLSHAPEDONOTDELETE" val="p.itwZtZN40GwXQulncT5cA"/>
</p:tagLst>
</file>

<file path=ppt/tags/tag131.xml><?xml version="1.0" encoding="utf-8"?>
<p:tagLst xmlns:p="http://schemas.openxmlformats.org/presentationml/2006/main">
  <p:tag name="THINKCELLSHAPEDONOTDELETE" val="pe5qK6XMXVESSD1iqPOOq9Q"/>
</p:tagLst>
</file>

<file path=ppt/tags/tag132.xml><?xml version="1.0" encoding="utf-8"?>
<p:tagLst xmlns:p="http://schemas.openxmlformats.org/presentationml/2006/main">
  <p:tag name="THINKCELLSHAPEDONOTDELETE" val="pdHeZGsTH0EKVh0QJh0IFDw"/>
</p:tagLst>
</file>

<file path=ppt/tags/tag133.xml><?xml version="1.0" encoding="utf-8"?>
<p:tagLst xmlns:p="http://schemas.openxmlformats.org/presentationml/2006/main">
  <p:tag name="THINKCELLSHAPEDONOTDELETE" val="peIBM5CHCLUiJr7OVuDtxjA"/>
</p:tagLst>
</file>

<file path=ppt/tags/tag134.xml><?xml version="1.0" encoding="utf-8"?>
<p:tagLst xmlns:p="http://schemas.openxmlformats.org/presentationml/2006/main">
  <p:tag name="THINKCELLSHAPEDONOTDELETE" val="pUUfwgmAzJ0eZcZ_o65WHQg"/>
</p:tagLst>
</file>

<file path=ppt/tags/tag135.xml><?xml version="1.0" encoding="utf-8"?>
<p:tagLst xmlns:p="http://schemas.openxmlformats.org/presentationml/2006/main">
  <p:tag name="THINKCELLSHAPEDONOTDELETE" val="p90wIilvOXE.HZsQ1xCmnwg"/>
</p:tagLst>
</file>

<file path=ppt/tags/tag136.xml><?xml version="1.0" encoding="utf-8"?>
<p:tagLst xmlns:p="http://schemas.openxmlformats.org/presentationml/2006/main">
  <p:tag name="THINKCELLSHAPEDONOTDELETE" val="pbdk8ffzsMEK5jb_RQhrmQg"/>
</p:tagLst>
</file>

<file path=ppt/tags/tag137.xml><?xml version="1.0" encoding="utf-8"?>
<p:tagLst xmlns:p="http://schemas.openxmlformats.org/presentationml/2006/main">
  <p:tag name="THINKCELLSHAPEDONOTDELETE" val="pSBfs0eWSl0Om7kM9.UawOA"/>
</p:tagLst>
</file>

<file path=ppt/tags/tag138.xml><?xml version="1.0" encoding="utf-8"?>
<p:tagLst xmlns:p="http://schemas.openxmlformats.org/presentationml/2006/main">
  <p:tag name="THINKCELLSHAPEDONOTDELETE" val="pEjW50pSqQUaa2kJRHbq84Q"/>
</p:tagLst>
</file>

<file path=ppt/tags/tag139.xml><?xml version="1.0" encoding="utf-8"?>
<p:tagLst xmlns:p="http://schemas.openxmlformats.org/presentationml/2006/main">
  <p:tag name="THINKCELLSHAPEDONOTDELETE" val="prr4oI9KYbEmc7X5Cbha8PQ"/>
</p:tagLst>
</file>

<file path=ppt/tags/tag1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4_2"/>
  <p:tag name="KSO_WM_UNIT_ID" val="diagram20200181_3*m_h_i*1_4_2"/>
  <p:tag name="KSO_WM_TEMPLATE_CATEGORY" val="diagram"/>
  <p:tag name="KSO_WM_TEMPLATE_INDEX" val="20200181"/>
  <p:tag name="KSO_WM_UNIT_LAYERLEVEL" val="1_1_1"/>
  <p:tag name="KSO_WM_TAG_VERSION" val="1.0"/>
  <p:tag name="KSO_WM_BEAUTIFY_FLAG" val="#wm#"/>
  <p:tag name="KSO_WM_UNIT_TEXT_FILL_FORE_SCHEMECOLOR_INDEX" val="5"/>
  <p:tag name="KSO_WM_UNIT_TEXT_FILL_TYPE" val="1"/>
</p:tagLst>
</file>

<file path=ppt/tags/tag140.xml><?xml version="1.0" encoding="utf-8"?>
<p:tagLst xmlns:p="http://schemas.openxmlformats.org/presentationml/2006/main">
  <p:tag name="THINKCELLSHAPEDONOTDELETE" val="plZOhnvP3Y0qWiVEM1bly8w"/>
</p:tagLst>
</file>

<file path=ppt/tags/tag141.xml><?xml version="1.0" encoding="utf-8"?>
<p:tagLst xmlns:p="http://schemas.openxmlformats.org/presentationml/2006/main">
  <p:tag name="THINKCELLSHAPEDONOTDELETE" val="ptpcfKQ3WekCKwXuZtn1WMA"/>
</p:tagLst>
</file>

<file path=ppt/tags/tag142.xml><?xml version="1.0" encoding="utf-8"?>
<p:tagLst xmlns:p="http://schemas.openxmlformats.org/presentationml/2006/main">
  <p:tag name="THINKCELLSHAPEDONOTDELETE" val="plJ1lnoislEuMVb75drt0Aw"/>
</p:tagLst>
</file>

<file path=ppt/tags/tag143.xml><?xml version="1.0" encoding="utf-8"?>
<p:tagLst xmlns:p="http://schemas.openxmlformats.org/presentationml/2006/main">
  <p:tag name="THINKCELLSHAPEDONOTDELETE" val="pWxesq6DoNEi.HuDMFg9ouA"/>
</p:tagLst>
</file>

<file path=ppt/tags/tag144.xml><?xml version="1.0" encoding="utf-8"?>
<p:tagLst xmlns:p="http://schemas.openxmlformats.org/presentationml/2006/main">
  <p:tag name="THINKCELLSHAPEDONOTDELETE" val="pEMdKNlBfM06KTJ7e2FA7OA"/>
</p:tagLst>
</file>

<file path=ppt/tags/tag145.xml><?xml version="1.0" encoding="utf-8"?>
<p:tagLst xmlns:p="http://schemas.openxmlformats.org/presentationml/2006/main">
  <p:tag name="THINKCELLSHAPEDONOTDELETE" val="p9IHAXCf_2EGriSsNlbJGew"/>
</p:tagLst>
</file>

<file path=ppt/tags/tag146.xml><?xml version="1.0" encoding="utf-8"?>
<p:tagLst xmlns:p="http://schemas.openxmlformats.org/presentationml/2006/main">
  <p:tag name="THINKCELLSHAPEDONOTDELETE" val="pkFHOzWFNf0eLppo73N3OSg"/>
</p:tagLst>
</file>

<file path=ppt/tags/tag147.xml><?xml version="1.0" encoding="utf-8"?>
<p:tagLst xmlns:p="http://schemas.openxmlformats.org/presentationml/2006/main">
  <p:tag name="THINKCELLSHAPEDONOTDELETE" val="pVhE28E_ewk2.HUf6.8g2kw"/>
</p:tagLst>
</file>

<file path=ppt/tags/tag148.xml><?xml version="1.0" encoding="utf-8"?>
<p:tagLst xmlns:p="http://schemas.openxmlformats.org/presentationml/2006/main">
  <p:tag name="THINKCELLSHAPEDONOTDELETE" val="pGT2Tbe8WmEqG.FmkuXdohg"/>
</p:tagLst>
</file>

<file path=ppt/tags/tag149.xml><?xml version="1.0" encoding="utf-8"?>
<p:tagLst xmlns:p="http://schemas.openxmlformats.org/presentationml/2006/main">
  <p:tag name="THINKCELLSHAPEDONOTDELETE" val="pax7ZRnUxUk6k2KFUlW6z4g"/>
</p:tagLst>
</file>

<file path=ppt/tags/tag15.xml><?xml version="1.0" encoding="utf-8"?>
<p:tagLst xmlns:p="http://schemas.openxmlformats.org/presentationml/2006/main"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h_f"/>
  <p:tag name="KSO_WM_UNIT_INDEX" val="1_4_1_1"/>
  <p:tag name="KSO_WM_UNIT_ID" val="diagram20200181_3*m_h_h_f*1_4_1_1"/>
  <p:tag name="KSO_WM_TEMPLATE_CATEGORY" val="diagram"/>
  <p:tag name="KSO_WM_TEMPLATE_INDEX" val="20200181"/>
  <p:tag name="KSO_WM_UNIT_LAYERLEVEL" val="1_1_1_1"/>
  <p:tag name="KSO_WM_TAG_VERSION" val="1.0"/>
  <p:tag name="KSO_WM_BEAUTIFY_FLAG" val="#wm#"/>
  <p:tag name="KSO_WM_UNIT_PRESET_TEXT" val="单击此处添加文本具体内容，简明扼要的阐述您的观点。"/>
  <p:tag name="KSO_WM_UNIT_VALUE" val="40"/>
  <p:tag name="KSO_WM_UNIT_TEXT_FILL_FORE_SCHEMECOLOR_INDEX" val="14"/>
  <p:tag name="KSO_WM_UNIT_TEXT_FILL_TYPE" val="1"/>
</p:tagLst>
</file>

<file path=ppt/tags/tag150.xml><?xml version="1.0" encoding="utf-8"?>
<p:tagLst xmlns:p="http://schemas.openxmlformats.org/presentationml/2006/main">
  <p:tag name="THINKCELLSHAPEDONOTDELETE" val="pHXFoydIU2ESmft41ch_u_A"/>
</p:tagLst>
</file>

<file path=ppt/tags/tag151.xml><?xml version="1.0" encoding="utf-8"?>
<p:tagLst xmlns:p="http://schemas.openxmlformats.org/presentationml/2006/main">
  <p:tag name="THINKCELLSHAPEDONOTDELETE" val="pHXFoydIU2ESmft41ch_u_A"/>
</p:tagLst>
</file>

<file path=ppt/tags/tag152.xml><?xml version="1.0" encoding="utf-8"?>
<p:tagLst xmlns:p="http://schemas.openxmlformats.org/presentationml/2006/main">
  <p:tag name="THINKCELLSHAPEDONOTDELETE" val="pHXFoydIU2ESmft41ch_u_A"/>
</p:tagLst>
</file>

<file path=ppt/tags/tag153.xml><?xml version="1.0" encoding="utf-8"?>
<p:tagLst xmlns:p="http://schemas.openxmlformats.org/presentationml/2006/main">
  <p:tag name="THINKCELLSHAPEDONOTDELETE" val="pHXFoydIU2ESmft41ch_u_A"/>
</p:tagLst>
</file>

<file path=ppt/tags/tag154.xml><?xml version="1.0" encoding="utf-8"?>
<p:tagLst xmlns:p="http://schemas.openxmlformats.org/presentationml/2006/main">
  <p:tag name="THINKCELLSHAPEDONOTDELETE" val="phWGsk0z5X0uErmuJe3W.Yg"/>
</p:tagLst>
</file>

<file path=ppt/tags/tag155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0013"/>
  <p:tag name="KSO_WM_UNIT_TYPE" val="n_h_f"/>
  <p:tag name="KSO_WM_UNIT_INDEX" val="1_1_1"/>
  <p:tag name="KSO_WM_UNIT_ID" val="diagram160013_5*n_h_f*1_1_1"/>
  <p:tag name="KSO_WM_UNIT_CLEAR" val="1"/>
  <p:tag name="KSO_WM_UNIT_LAYERLEVEL" val="1_1_1"/>
  <p:tag name="KSO_WM_UNIT_VALUE" val="98"/>
  <p:tag name="KSO_WM_UNIT_HIGHLIGHT" val="0"/>
  <p:tag name="KSO_WM_UNIT_COMPATIBLE" val="0"/>
  <p:tag name="KSO_WM_DIAGRAM_GROUP_CODE" val="n1-1"/>
  <p:tag name="KSO_WM_UNIT_PRESET_TEXT" val="LOREM IPSUM"/>
  <p:tag name="KSO_WM_UNIT_LINE_FORE_SCHEMECOLOR_INDEX" val="5"/>
  <p:tag name="KSO_WM_UNIT_LINE_FILL_TYPE" val="2"/>
  <p:tag name="KSO_WM_UNIT_TEXT_FILL_FORE_SCHEMECOLOR_INDEX" val="5"/>
  <p:tag name="KSO_WM_UNIT_TEXT_FILL_TYPE" val="1"/>
</p:tagLst>
</file>

<file path=ppt/tags/tag156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diagram160013_5*i*1"/>
  <p:tag name="KSO_WM_TEMPLATE_CATEGORY" val="diagram"/>
  <p:tag name="KSO_WM_TEMPLATE_INDEX" val="160013"/>
  <p:tag name="KSO_WM_UNIT_INDEX" val="1"/>
</p:tagLst>
</file>

<file path=ppt/tags/tag157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0013"/>
  <p:tag name="KSO_WM_UNIT_TYPE" val="n_h_f"/>
  <p:tag name="KSO_WM_UNIT_INDEX" val="1_2_4"/>
  <p:tag name="KSO_WM_UNIT_ID" val="diagram160013_5*n_h_f*1_2_4"/>
  <p:tag name="KSO_WM_UNIT_CLEAR" val="1"/>
  <p:tag name="KSO_WM_UNIT_LAYERLEVEL" val="1_1_1"/>
  <p:tag name="KSO_WM_UNIT_VALUE" val="4"/>
  <p:tag name="KSO_WM_UNIT_HIGHLIGHT" val="0"/>
  <p:tag name="KSO_WM_UNIT_COMPATIBLE" val="0"/>
  <p:tag name="KSO_WM_DIAGRAM_GROUP_CODE" val="n1-1"/>
  <p:tag name="KSO_WM_UNIT_PRESET_TEXT" val="LOREM"/>
  <p:tag name="KSO_WM_UNIT_SHADOW_SCHEMECOLOR_INDEX" val="13"/>
  <p:tag name="KSO_WM_UNIT_TEXT_FILL_FORE_SCHEMECOLOR_INDEX" val="5"/>
  <p:tag name="KSO_WM_UNIT_TEXT_FILL_TYPE" val="1"/>
</p:tagLst>
</file>

<file path=ppt/tags/tag158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0013"/>
  <p:tag name="KSO_WM_UNIT_TYPE" val="n_i"/>
  <p:tag name="KSO_WM_UNIT_INDEX" val="1_1"/>
  <p:tag name="KSO_WM_UNIT_ID" val="diagram160013_5*n_i*1_1"/>
  <p:tag name="KSO_WM_UNIT_CLEAR" val="1"/>
  <p:tag name="KSO_WM_UNIT_LAYERLEVEL" val="1_1"/>
  <p:tag name="KSO_WM_DIAGRAM_GROUP_CODE" val="n1-1"/>
  <p:tag name="KSO_WM_UNIT_LINE_FORE_SCHEMECOLOR_INDEX" val="5"/>
  <p:tag name="KSO_WM_UNIT_LINE_FILL_TYPE" val="2"/>
  <p:tag name="KSO_WM_UNIT_TEXT_FILL_FORE_SCHEMECOLOR_INDEX" val="13"/>
  <p:tag name="KSO_WM_UNIT_TEXT_FILL_TYPE" val="1"/>
</p:tagLst>
</file>

<file path=ppt/tags/tag159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0013"/>
  <p:tag name="KSO_WM_UNIT_TYPE" val="n_i"/>
  <p:tag name="KSO_WM_UNIT_INDEX" val="1_2"/>
  <p:tag name="KSO_WM_UNIT_ID" val="diagram160013_5*n_i*1_2"/>
  <p:tag name="KSO_WM_UNIT_CLEAR" val="1"/>
  <p:tag name="KSO_WM_UNIT_LAYERLEVEL" val="1_1"/>
  <p:tag name="KSO_WM_DIAGRAM_GROUP_CODE" val="n1-1"/>
  <p:tag name="KSO_WM_UNIT_LINE_FORE_SCHEMECOLOR_INDEX" val="5"/>
  <p:tag name="KSO_WM_UNIT_LINE_FILL_TYPE" val="2"/>
  <p:tag name="KSO_WM_UNIT_TEXT_FILL_FORE_SCHEMECOLOR_INDEX" val="13"/>
  <p:tag name="KSO_WM_UNIT_TEXT_FILL_TYPE" val="1"/>
</p:tagLst>
</file>

<file path=ppt/tags/tag16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a"/>
  <p:tag name="KSO_WM_UNIT_INDEX" val="1_4_1"/>
  <p:tag name="KSO_WM_UNIT_ID" val="diagram20200181_3*m_h_a*1_4_1"/>
  <p:tag name="KSO_WM_TEMPLATE_CATEGORY" val="diagram"/>
  <p:tag name="KSO_WM_TEMPLATE_INDEX" val="20200181"/>
  <p:tag name="KSO_WM_UNIT_LAYERLEVEL" val="1_1_1"/>
  <p:tag name="KSO_WM_TAG_VERSION" val="1.0"/>
  <p:tag name="KSO_WM_BEAUTIFY_FLAG" val="#wm#"/>
  <p:tag name="KSO_WM_UNIT_PRESET_TEXT" val="单击此处添加标题"/>
  <p:tag name="KSO_WM_UNIT_VALUE" val="15"/>
  <p:tag name="KSO_WM_UNIT_TEXT_FILL_FORE_SCHEMECOLOR_INDEX" val="13"/>
  <p:tag name="KSO_WM_UNIT_TEXT_FILL_TYPE" val="1"/>
</p:tagLst>
</file>

<file path=ppt/tags/tag160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diagram160013_5*i*8"/>
  <p:tag name="KSO_WM_TEMPLATE_CATEGORY" val="diagram"/>
  <p:tag name="KSO_WM_TEMPLATE_INDEX" val="160013"/>
  <p:tag name="KSO_WM_UNIT_INDEX" val="8"/>
</p:tagLst>
</file>

<file path=ppt/tags/tag161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0013"/>
  <p:tag name="KSO_WM_UNIT_TYPE" val="n_h_f"/>
  <p:tag name="KSO_WM_UNIT_INDEX" val="1_2_3"/>
  <p:tag name="KSO_WM_UNIT_ID" val="diagram160013_5*n_h_f*1_2_3"/>
  <p:tag name="KSO_WM_UNIT_CLEAR" val="1"/>
  <p:tag name="KSO_WM_UNIT_LAYERLEVEL" val="1_1_1"/>
  <p:tag name="KSO_WM_UNIT_VALUE" val="4"/>
  <p:tag name="KSO_WM_UNIT_HIGHLIGHT" val="0"/>
  <p:tag name="KSO_WM_UNIT_COMPATIBLE" val="0"/>
  <p:tag name="KSO_WM_DIAGRAM_GROUP_CODE" val="n1-1"/>
  <p:tag name="KSO_WM_UNIT_PRESET_TEXT" val="LOREM"/>
  <p:tag name="KSO_WM_UNIT_SHADOW_SCHEMECOLOR_INDEX" val="13"/>
  <p:tag name="KSO_WM_UNIT_TEXT_FILL_FORE_SCHEMECOLOR_INDEX" val="5"/>
  <p:tag name="KSO_WM_UNIT_TEXT_FILL_TYPE" val="1"/>
</p:tagLst>
</file>

<file path=ppt/tags/tag162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0013"/>
  <p:tag name="KSO_WM_UNIT_TYPE" val="n_i"/>
  <p:tag name="KSO_WM_UNIT_INDEX" val="1_3"/>
  <p:tag name="KSO_WM_UNIT_ID" val="diagram160013_5*n_i*1_3"/>
  <p:tag name="KSO_WM_UNIT_CLEAR" val="1"/>
  <p:tag name="KSO_WM_UNIT_LAYERLEVEL" val="1_1"/>
  <p:tag name="KSO_WM_DIAGRAM_GROUP_CODE" val="n1-1"/>
  <p:tag name="KSO_WM_UNIT_LINE_FORE_SCHEMECOLOR_INDEX" val="5"/>
  <p:tag name="KSO_WM_UNIT_LINE_FILL_TYPE" val="2"/>
  <p:tag name="KSO_WM_UNIT_TEXT_FILL_FORE_SCHEMECOLOR_INDEX" val="13"/>
  <p:tag name="KSO_WM_UNIT_TEXT_FILL_TYPE" val="1"/>
</p:tagLst>
</file>

<file path=ppt/tags/tag163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0013"/>
  <p:tag name="KSO_WM_UNIT_TYPE" val="n_i"/>
  <p:tag name="KSO_WM_UNIT_INDEX" val="1_4"/>
  <p:tag name="KSO_WM_UNIT_ID" val="diagram160013_5*n_i*1_4"/>
  <p:tag name="KSO_WM_UNIT_CLEAR" val="1"/>
  <p:tag name="KSO_WM_UNIT_LAYERLEVEL" val="1_1"/>
  <p:tag name="KSO_WM_DIAGRAM_GROUP_CODE" val="n1-1"/>
  <p:tag name="KSO_WM_UNIT_LINE_FORE_SCHEMECOLOR_INDEX" val="5"/>
  <p:tag name="KSO_WM_UNIT_LINE_FILL_TYPE" val="2"/>
  <p:tag name="KSO_WM_UNIT_TEXT_FILL_FORE_SCHEMECOLOR_INDEX" val="13"/>
  <p:tag name="KSO_WM_UNIT_TEXT_FILL_TYPE" val="1"/>
</p:tagLst>
</file>

<file path=ppt/tags/tag164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diagram160013_5*i*15"/>
  <p:tag name="KSO_WM_TEMPLATE_CATEGORY" val="diagram"/>
  <p:tag name="KSO_WM_TEMPLATE_INDEX" val="160013"/>
  <p:tag name="KSO_WM_UNIT_INDEX" val="15"/>
</p:tagLst>
</file>

<file path=ppt/tags/tag165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0013"/>
  <p:tag name="KSO_WM_UNIT_TYPE" val="n_h_f"/>
  <p:tag name="KSO_WM_UNIT_INDEX" val="1_2_2"/>
  <p:tag name="KSO_WM_UNIT_ID" val="diagram160013_5*n_h_f*1_2_2"/>
  <p:tag name="KSO_WM_UNIT_CLEAR" val="1"/>
  <p:tag name="KSO_WM_UNIT_LAYERLEVEL" val="1_1_1"/>
  <p:tag name="KSO_WM_UNIT_VALUE" val="4"/>
  <p:tag name="KSO_WM_UNIT_HIGHLIGHT" val="0"/>
  <p:tag name="KSO_WM_UNIT_COMPATIBLE" val="0"/>
  <p:tag name="KSO_WM_DIAGRAM_GROUP_CODE" val="n1-1"/>
  <p:tag name="KSO_WM_UNIT_PRESET_TEXT" val="LOREM"/>
  <p:tag name="KSO_WM_UNIT_SHADOW_SCHEMECOLOR_INDEX" val="13"/>
  <p:tag name="KSO_WM_UNIT_TEXT_FILL_FORE_SCHEMECOLOR_INDEX" val="5"/>
  <p:tag name="KSO_WM_UNIT_TEXT_FILL_TYPE" val="1"/>
</p:tagLst>
</file>

<file path=ppt/tags/tag166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0013"/>
  <p:tag name="KSO_WM_UNIT_TYPE" val="n_i"/>
  <p:tag name="KSO_WM_UNIT_INDEX" val="1_5"/>
  <p:tag name="KSO_WM_UNIT_ID" val="diagram160013_5*n_i*1_5"/>
  <p:tag name="KSO_WM_UNIT_CLEAR" val="1"/>
  <p:tag name="KSO_WM_UNIT_LAYERLEVEL" val="1_1"/>
  <p:tag name="KSO_WM_DIAGRAM_GROUP_CODE" val="n1-1"/>
  <p:tag name="KSO_WM_UNIT_LINE_FORE_SCHEMECOLOR_INDEX" val="5"/>
  <p:tag name="KSO_WM_UNIT_LINE_FILL_TYPE" val="2"/>
  <p:tag name="KSO_WM_UNIT_TEXT_FILL_FORE_SCHEMECOLOR_INDEX" val="13"/>
  <p:tag name="KSO_WM_UNIT_TEXT_FILL_TYPE" val="1"/>
</p:tagLst>
</file>

<file path=ppt/tags/tag167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0013"/>
  <p:tag name="KSO_WM_UNIT_TYPE" val="n_i"/>
  <p:tag name="KSO_WM_UNIT_INDEX" val="1_6"/>
  <p:tag name="KSO_WM_UNIT_ID" val="diagram160013_5*n_i*1_6"/>
  <p:tag name="KSO_WM_UNIT_CLEAR" val="1"/>
  <p:tag name="KSO_WM_UNIT_LAYERLEVEL" val="1_1"/>
  <p:tag name="KSO_WM_DIAGRAM_GROUP_CODE" val="n1-1"/>
  <p:tag name="KSO_WM_UNIT_LINE_FORE_SCHEMECOLOR_INDEX" val="5"/>
  <p:tag name="KSO_WM_UNIT_LINE_FILL_TYPE" val="2"/>
  <p:tag name="KSO_WM_UNIT_TEXT_FILL_FORE_SCHEMECOLOR_INDEX" val="13"/>
  <p:tag name="KSO_WM_UNIT_TEXT_FILL_TYPE" val="1"/>
</p:tagLst>
</file>

<file path=ppt/tags/tag168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diagram160013_5*i*22"/>
  <p:tag name="KSO_WM_TEMPLATE_CATEGORY" val="diagram"/>
  <p:tag name="KSO_WM_TEMPLATE_INDEX" val="160013"/>
  <p:tag name="KSO_WM_UNIT_INDEX" val="22"/>
</p:tagLst>
</file>

<file path=ppt/tags/tag169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0013"/>
  <p:tag name="KSO_WM_UNIT_TYPE" val="n_h_f"/>
  <p:tag name="KSO_WM_UNIT_INDEX" val="1_2_1"/>
  <p:tag name="KSO_WM_UNIT_ID" val="diagram160013_5*n_h_f*1_2_1"/>
  <p:tag name="KSO_WM_UNIT_CLEAR" val="1"/>
  <p:tag name="KSO_WM_UNIT_LAYERLEVEL" val="1_1_1"/>
  <p:tag name="KSO_WM_UNIT_VALUE" val="4"/>
  <p:tag name="KSO_WM_UNIT_HIGHLIGHT" val="0"/>
  <p:tag name="KSO_WM_UNIT_COMPATIBLE" val="0"/>
  <p:tag name="KSO_WM_DIAGRAM_GROUP_CODE" val="n1-1"/>
  <p:tag name="KSO_WM_UNIT_PRESET_TEXT" val="LOREM"/>
  <p:tag name="KSO_WM_UNIT_SHADOW_SCHEMECOLOR_INDEX" val="13"/>
  <p:tag name="KSO_WM_UNIT_TEXT_FILL_FORE_SCHEMECOLOR_INDEX" val="5"/>
  <p:tag name="KSO_WM_UNIT_TEXT_FILL_TYPE" val="1"/>
</p:tagLst>
</file>

<file path=ppt/tags/tag17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h_a"/>
  <p:tag name="KSO_WM_UNIT_INDEX" val="1_4_1_1"/>
  <p:tag name="KSO_WM_UNIT_ID" val="diagram20200181_3*m_h_h_a*1_4_1_1"/>
  <p:tag name="KSO_WM_TEMPLATE_CATEGORY" val="diagram"/>
  <p:tag name="KSO_WM_TEMPLATE_INDEX" val="20200181"/>
  <p:tag name="KSO_WM_UNIT_LAYERLEVEL" val="1_1_1_1"/>
  <p:tag name="KSO_WM_TAG_VERSION" val="1.0"/>
  <p:tag name="KSO_WM_BEAUTIFY_FLAG" val="#wm#"/>
  <p:tag name="KSO_WM_UNIT_PRESET_TEXT" val="单击此处添加文本"/>
  <p:tag name="KSO_WM_UNIT_VALUE" val="15"/>
  <p:tag name="KSO_WM_UNIT_TEXT_FILL_FORE_SCHEMECOLOR_INDEX" val="5"/>
  <p:tag name="KSO_WM_UNIT_TEXT_FILL_TYPE" val="1"/>
</p:tagLst>
</file>

<file path=ppt/tags/tag170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0013"/>
  <p:tag name="KSO_WM_UNIT_TYPE" val="n_i"/>
  <p:tag name="KSO_WM_UNIT_INDEX" val="1_7"/>
  <p:tag name="KSO_WM_UNIT_ID" val="diagram160013_5*n_i*1_7"/>
  <p:tag name="KSO_WM_UNIT_CLEAR" val="1"/>
  <p:tag name="KSO_WM_UNIT_LAYERLEVEL" val="1_1"/>
  <p:tag name="KSO_WM_DIAGRAM_GROUP_CODE" val="n1-1"/>
  <p:tag name="KSO_WM_UNIT_LINE_FORE_SCHEMECOLOR_INDEX" val="5"/>
  <p:tag name="KSO_WM_UNIT_LINE_FILL_TYPE" val="2"/>
  <p:tag name="KSO_WM_UNIT_TEXT_FILL_FORE_SCHEMECOLOR_INDEX" val="13"/>
  <p:tag name="KSO_WM_UNIT_TEXT_FILL_TYPE" val="1"/>
</p:tagLst>
</file>

<file path=ppt/tags/tag171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0013"/>
  <p:tag name="KSO_WM_UNIT_TYPE" val="n_i"/>
  <p:tag name="KSO_WM_UNIT_INDEX" val="1_8"/>
  <p:tag name="KSO_WM_UNIT_ID" val="diagram160013_5*n_i*1_8"/>
  <p:tag name="KSO_WM_UNIT_CLEAR" val="1"/>
  <p:tag name="KSO_WM_UNIT_LAYERLEVEL" val="1_1"/>
  <p:tag name="KSO_WM_DIAGRAM_GROUP_CODE" val="n1-1"/>
  <p:tag name="KSO_WM_UNIT_LINE_FORE_SCHEMECOLOR_INDEX" val="5"/>
  <p:tag name="KSO_WM_UNIT_LINE_FILL_TYPE" val="2"/>
  <p:tag name="KSO_WM_UNIT_TEXT_FILL_FORE_SCHEMECOLOR_INDEX" val="13"/>
  <p:tag name="KSO_WM_UNIT_TEXT_FILL_TYPE" val="1"/>
</p:tagLst>
</file>

<file path=ppt/tags/tag172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diagram160013_5*i*29"/>
  <p:tag name="KSO_WM_TEMPLATE_CATEGORY" val="diagram"/>
  <p:tag name="KSO_WM_TEMPLATE_INDEX" val="160013"/>
  <p:tag name="KSO_WM_UNIT_INDEX" val="29"/>
</p:tagLst>
</file>

<file path=ppt/tags/tag173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0013"/>
  <p:tag name="KSO_WM_UNIT_TYPE" val="n_h_f"/>
  <p:tag name="KSO_WM_UNIT_INDEX" val="1_2_5"/>
  <p:tag name="KSO_WM_UNIT_ID" val="diagram160013_5*n_h_f*1_2_5"/>
  <p:tag name="KSO_WM_UNIT_CLEAR" val="1"/>
  <p:tag name="KSO_WM_UNIT_LAYERLEVEL" val="1_1_1"/>
  <p:tag name="KSO_WM_UNIT_VALUE" val="4"/>
  <p:tag name="KSO_WM_UNIT_HIGHLIGHT" val="0"/>
  <p:tag name="KSO_WM_UNIT_COMPATIBLE" val="0"/>
  <p:tag name="KSO_WM_DIAGRAM_GROUP_CODE" val="n1-1"/>
  <p:tag name="KSO_WM_UNIT_PRESET_TEXT" val="LOREM"/>
  <p:tag name="KSO_WM_UNIT_SHADOW_SCHEMECOLOR_INDEX" val="13"/>
  <p:tag name="KSO_WM_UNIT_TEXT_FILL_FORE_SCHEMECOLOR_INDEX" val="5"/>
  <p:tag name="KSO_WM_UNIT_TEXT_FILL_TYPE" val="1"/>
</p:tagLst>
</file>

<file path=ppt/tags/tag174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0013"/>
  <p:tag name="KSO_WM_UNIT_TYPE" val="n_i"/>
  <p:tag name="KSO_WM_UNIT_INDEX" val="1_9"/>
  <p:tag name="KSO_WM_UNIT_ID" val="diagram160013_5*n_i*1_9"/>
  <p:tag name="KSO_WM_UNIT_CLEAR" val="1"/>
  <p:tag name="KSO_WM_UNIT_LAYERLEVEL" val="1_1"/>
  <p:tag name="KSO_WM_DIAGRAM_GROUP_CODE" val="n1-1"/>
  <p:tag name="KSO_WM_UNIT_LINE_FORE_SCHEMECOLOR_INDEX" val="5"/>
  <p:tag name="KSO_WM_UNIT_LINE_FILL_TYPE" val="2"/>
  <p:tag name="KSO_WM_UNIT_TEXT_FILL_FORE_SCHEMECOLOR_INDEX" val="13"/>
  <p:tag name="KSO_WM_UNIT_TEXT_FILL_TYPE" val="1"/>
</p:tagLst>
</file>

<file path=ppt/tags/tag175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0013"/>
  <p:tag name="KSO_WM_UNIT_TYPE" val="n_i"/>
  <p:tag name="KSO_WM_UNIT_INDEX" val="1_10"/>
  <p:tag name="KSO_WM_UNIT_ID" val="diagram160013_5*n_i*1_10"/>
  <p:tag name="KSO_WM_UNIT_CLEAR" val="1"/>
  <p:tag name="KSO_WM_UNIT_LAYERLEVEL" val="1_1"/>
  <p:tag name="KSO_WM_DIAGRAM_GROUP_CODE" val="n1-1"/>
  <p:tag name="KSO_WM_UNIT_LINE_FORE_SCHEMECOLOR_INDEX" val="5"/>
  <p:tag name="KSO_WM_UNIT_LINE_FILL_TYPE" val="2"/>
  <p:tag name="KSO_WM_UNIT_TEXT_FILL_FORE_SCHEMECOLOR_INDEX" val="13"/>
  <p:tag name="KSO_WM_UNIT_TEXT_FILL_TYPE" val="1"/>
</p:tagLst>
</file>

<file path=ppt/tags/tag176.xml><?xml version="1.0" encoding="utf-8"?>
<p:tagLst xmlns:p="http://schemas.openxmlformats.org/presentationml/2006/main">
  <p:tag name="SCENESHAPETYPE" val="SceneShape"/>
  <p:tag name="SCENESHAPESUBTYPE" val="ScenePicShape"/>
  <p:tag name="SCENESHAPENAME" val="轮播图形"/>
  <p:tag name="LOOPID" val="636833441596593358"/>
  <p:tag name="RESOURCEID" val="636833441596593358"/>
  <p:tag name="SCENEID" val="Unkown"/>
  <p:tag name="SCENELINKIDS" val="5|7|8"/>
  <p:tag name="ANIMSTRING" val="9ed3c3b50b8c1028c4c0ef6a594c9619"/>
  <p:tag name="PA" val="v5.2.3"/>
  <p:tag name="RESOURCELIBID_ANIM" val="265"/>
  <p:tag name="KSO_WM_UNIT_DIAGRAM_MODELTYPE" val="flashPicture"/>
  <p:tag name="KSO_WM_UNIT_VALUE" val="1150*2045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h_d"/>
  <p:tag name="KSO_WM_UNIT_INDEX" val="1_1_1"/>
  <p:tag name="KSO_WM_UNIT_ID" val="mixed20199731_1*ζ_h_d*1_1_1"/>
  <p:tag name="KSO_WM_TEMPLATE_CATEGORY" val="mixed"/>
  <p:tag name="KSO_WM_TEMPLATE_INDEX" val="20199731"/>
  <p:tag name="KSO_WM_UNIT_LAYERLEVEL" val="1_1_1"/>
  <p:tag name="KSO_WM_TAG_VERSION" val="1.0"/>
  <p:tag name="KSO_WM_BEAUTIFY_FLAG" val="#wm#"/>
  <p:tag name="KSO_WM_UNIT_FLASH_PICTURE_RATE" val="2"/>
</p:tagLst>
</file>

<file path=ppt/tags/tag177.xml><?xml version="1.0" encoding="utf-8"?>
<p:tagLst xmlns:p="http://schemas.openxmlformats.org/presentationml/2006/main">
  <p:tag name="SCENESHAPETYPE" val="SceneShape"/>
  <p:tag name="SCENESHAPESUBTYPE" val="ScenePicShape"/>
  <p:tag name="SCENESHAPENAME" val="轮播图形"/>
  <p:tag name="LOOPID" val="636833441596593358"/>
  <p:tag name="RESOURCEID" val="636833441596593358"/>
  <p:tag name="SCENEID" val="Unkown"/>
  <p:tag name="SCENELINKIDS" val="5|7|8"/>
  <p:tag name="ANIMSTRING" val="9ed3c3b50b8c1028c4c0ef6a594c9619"/>
  <p:tag name="PA" val="v5.2.3"/>
  <p:tag name="RESOURCELIBID_ANIM" val="265"/>
  <p:tag name="KSO_WM_UNIT_DIAGRAM_MODELTYPE" val="flashPicture"/>
  <p:tag name="KSO_WM_UNIT_VALUE" val="1150*2045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h_d"/>
  <p:tag name="KSO_WM_UNIT_INDEX" val="1_2_1"/>
  <p:tag name="KSO_WM_UNIT_ID" val="mixed20199731_1*ζ_h_d*1_2_1"/>
  <p:tag name="KSO_WM_TEMPLATE_CATEGORY" val="mixed"/>
  <p:tag name="KSO_WM_TEMPLATE_INDEX" val="20199731"/>
  <p:tag name="KSO_WM_UNIT_LAYERLEVEL" val="1_1_1"/>
  <p:tag name="KSO_WM_TAG_VERSION" val="1.0"/>
  <p:tag name="KSO_WM_BEAUTIFY_FLAG" val="#wm#"/>
  <p:tag name="KSO_WM_UNIT_FLASH_PICTURE_RATE" val="2"/>
</p:tagLst>
</file>

<file path=ppt/tags/tag178.xml><?xml version="1.0" encoding="utf-8"?>
<p:tagLst xmlns:p="http://schemas.openxmlformats.org/presentationml/2006/main">
  <p:tag name="SCENESHAPETYPE" val="SceneShape"/>
  <p:tag name="SCENESHAPESUBTYPE" val="ScenePicShape"/>
  <p:tag name="SCENESHAPENAME" val="轮播图形"/>
  <p:tag name="LOOPID" val="636833441596593358"/>
  <p:tag name="RESOURCEID" val="636833441596593358"/>
  <p:tag name="SCENEID" val="Unkown"/>
  <p:tag name="SCENELINKIDS" val="5|7|8"/>
  <p:tag name="ANIMSTRING" val="9ed3c3b50b8c1028c4c0ef6a594c9619"/>
  <p:tag name="PA" val="v5.2.3"/>
  <p:tag name="RESOURCELIBID_ANIM" val="265"/>
  <p:tag name="KSO_WM_UNIT_DIAGRAM_MODELTYPE" val="flashPicture"/>
  <p:tag name="KSO_WM_UNIT_VALUE" val="1150*2045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h_d"/>
  <p:tag name="KSO_WM_UNIT_INDEX" val="1_3_1"/>
  <p:tag name="KSO_WM_UNIT_ID" val="mixed20199731_1*ζ_h_d*1_3_1"/>
  <p:tag name="KSO_WM_TEMPLATE_CATEGORY" val="mixed"/>
  <p:tag name="KSO_WM_TEMPLATE_INDEX" val="20199731"/>
  <p:tag name="KSO_WM_UNIT_LAYERLEVEL" val="1_1_1"/>
  <p:tag name="KSO_WM_TAG_VERSION" val="1.0"/>
  <p:tag name="KSO_WM_BEAUTIFY_FLAG" val="#wm#"/>
  <p:tag name="KSO_WM_UNIT_FLASH_PICTURE_RATE" val="2"/>
</p:tagLst>
</file>

<file path=ppt/tags/tag179.xml><?xml version="1.0" encoding="utf-8"?>
<p:tagLst xmlns:p="http://schemas.openxmlformats.org/presentationml/2006/main">
  <p:tag name="PA" val="v5.2.4"/>
  <p:tag name="RESOURCELIBID_ANIM" val="289"/>
  <p:tag name="KSO_WM_UNIT_DIAGRAM_MODELTYPE" val="flashPicture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i"/>
  <p:tag name="KSO_WM_UNIT_INDEX" val="1_1"/>
  <p:tag name="KSO_WM_UNIT_ID" val="mixed20199731_1*ζ_i*1_1"/>
  <p:tag name="KSO_WM_TEMPLATE_CATEGORY" val="mixed"/>
  <p:tag name="KSO_WM_TEMPLATE_INDEX" val="20199731"/>
  <p:tag name="KSO_WM_UNIT_LAYERLEVEL" val="1_1"/>
  <p:tag name="KSO_WM_TAG_VERSION" val="1.0"/>
  <p:tag name="KSO_WM_BEAUTIFY_FLAG" val="#wm#"/>
  <p:tag name="KSO_WM_UNIT_SUBTYPE" val="f"/>
</p:tagLst>
</file>

<file path=ppt/tags/tag1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2_1"/>
  <p:tag name="KSO_WM_UNIT_ID" val="diagram20200181_3*m_h_i*1_2_1"/>
  <p:tag name="KSO_WM_TEMPLATE_CATEGORY" val="diagram"/>
  <p:tag name="KSO_WM_TEMPLATE_INDEX" val="20200181"/>
  <p:tag name="KSO_WM_UNIT_LAYERLEVEL" val="1_1_1"/>
  <p:tag name="KSO_WM_TAG_VERSION" val="1.0"/>
  <p:tag name="KSO_WM_BEAUTIFY_FLAG" val="#wm#"/>
  <p:tag name="KSO_WM_UNIT_TEXT_FILL_FORE_SCHEMECOLOR_INDEX" val="5"/>
  <p:tag name="KSO_WM_UNIT_TEXT_FILL_TYPE" val="1"/>
</p:tagLst>
</file>

<file path=ppt/tags/tag180.xml><?xml version="1.0" encoding="utf-8"?>
<p:tagLst xmlns:p="http://schemas.openxmlformats.org/presentationml/2006/main">
  <p:tag name="PA" val="v5.2.4"/>
  <p:tag name="RESOURCELIBID_ANIM" val="289"/>
  <p:tag name="KSO_WM_UNIT_DIAGRAM_MODELTYPE" val="flashPicture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i"/>
  <p:tag name="KSO_WM_UNIT_INDEX" val="1_2"/>
  <p:tag name="KSO_WM_UNIT_ID" val="mixed20199731_1*ζ_i*1_2"/>
  <p:tag name="KSO_WM_TEMPLATE_CATEGORY" val="mixed"/>
  <p:tag name="KSO_WM_TEMPLATE_INDEX" val="20199731"/>
  <p:tag name="KSO_WM_UNIT_LAYERLEVEL" val="1_1"/>
  <p:tag name="KSO_WM_TAG_VERSION" val="1.0"/>
  <p:tag name="KSO_WM_BEAUTIFY_FLAG" val="#wm#"/>
  <p:tag name="KSO_WM_UNIT_SUBTYPE" val="f"/>
</p:tagLst>
</file>

<file path=ppt/tags/tag181.xml><?xml version="1.0" encoding="utf-8"?>
<p:tagLst xmlns:p="http://schemas.openxmlformats.org/presentationml/2006/main">
  <p:tag name="SCENESHAPETYPE" val="SceneShape"/>
  <p:tag name="SCENESHAPESUBTYPE" val="ScenePicShape"/>
  <p:tag name="SCENESHAPENAME" val="轮播图形"/>
  <p:tag name="LOOPID" val="636833441596593358"/>
  <p:tag name="RESOURCEID" val="636833441596593358"/>
  <p:tag name="SCENEID" val="Unkown"/>
  <p:tag name="SCENELINKIDS" val="5|7|8"/>
  <p:tag name="ANIMSTRING" val="9ed3c3b50b8c1028c4c0ef6a594c9619"/>
  <p:tag name="PA" val="v5.2.3"/>
  <p:tag name="RESOURCELIBID_ANIM" val="265"/>
  <p:tag name="KSO_WM_UNIT_DIAGRAM_MODELTYPE" val="flashPicture"/>
  <p:tag name="KSO_WM_UNIT_VALUE" val="1150*2045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h_d"/>
  <p:tag name="KSO_WM_UNIT_INDEX" val="1_4_1"/>
  <p:tag name="KSO_WM_UNIT_ID" val="mixed20199731_1*ζ_h_d*1_4_1"/>
  <p:tag name="KSO_WM_TEMPLATE_CATEGORY" val="mixed"/>
  <p:tag name="KSO_WM_TEMPLATE_INDEX" val="20199731"/>
  <p:tag name="KSO_WM_UNIT_LAYERLEVEL" val="1_1_1"/>
  <p:tag name="KSO_WM_TAG_VERSION" val="1.0"/>
  <p:tag name="KSO_WM_BEAUTIFY_FLAG" val="#wm#"/>
  <p:tag name="KSO_WM_UNIT_FLASH_PICTURE_RATE" val="2"/>
</p:tagLst>
</file>

<file path=ppt/tags/tag182.xml><?xml version="1.0" encoding="utf-8"?>
<p:tagLst xmlns:p="http://schemas.openxmlformats.org/presentationml/2006/main">
  <p:tag name="SCENESHAPETYPE" val="SceneShape"/>
  <p:tag name="SCENESHAPESUBTYPE" val="ScenePicShape"/>
  <p:tag name="SCENESHAPENAME" val="轮播图形"/>
  <p:tag name="LOOPID" val="636833441596593358"/>
  <p:tag name="RESOURCEID" val="636833441596593358"/>
  <p:tag name="SCENEID" val="Unkown"/>
  <p:tag name="SCENELINKIDS" val="5|7|8"/>
  <p:tag name="ANIMSTRING" val="9ed3c3b50b8c1028c4c0ef6a594c9619"/>
  <p:tag name="PA" val="v5.2.3"/>
  <p:tag name="RESOURCELIBID_ANIM" val="265"/>
  <p:tag name="KSO_WM_UNIT_DIAGRAM_MODELTYPE" val="flashPicture"/>
  <p:tag name="KSO_WM_UNIT_VALUE" val="1150*2045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h_d"/>
  <p:tag name="KSO_WM_UNIT_INDEX" val="1_5_1"/>
  <p:tag name="KSO_WM_UNIT_ID" val="mixed20199731_1*ζ_h_d*1_5_1"/>
  <p:tag name="KSO_WM_TEMPLATE_CATEGORY" val="mixed"/>
  <p:tag name="KSO_WM_TEMPLATE_INDEX" val="20199731"/>
  <p:tag name="KSO_WM_UNIT_LAYERLEVEL" val="1_1_1"/>
  <p:tag name="KSO_WM_TAG_VERSION" val="1.0"/>
  <p:tag name="KSO_WM_BEAUTIFY_FLAG" val="#wm#"/>
  <p:tag name="KSO_WM_UNIT_FLASH_PICTURE_RATE" val="2"/>
</p:tagLst>
</file>

<file path=ppt/tags/tag183.xml><?xml version="1.0" encoding="utf-8"?>
<p:tagLst xmlns:p="http://schemas.openxmlformats.org/presentationml/2006/main">
  <p:tag name="SCENESHAPETYPE" val="SceneShape"/>
  <p:tag name="SCENESHAPESUBTYPE" val="ScenePicShape"/>
  <p:tag name="SCENESHAPENAME" val="轮播图形"/>
  <p:tag name="LOOPID" val="636833441596593358"/>
  <p:tag name="RESOURCEID" val="636833441596593358"/>
  <p:tag name="SCENEID" val="Unkown"/>
  <p:tag name="SCENELINKIDS" val="5|7|8"/>
  <p:tag name="ANIMSTRING" val="9ed3c3b50b8c1028c4c0ef6a594c9619"/>
  <p:tag name="PA" val="v5.2.3"/>
  <p:tag name="RESOURCELIBID_ANIM" val="265"/>
  <p:tag name="KSO_WM_UNIT_DIAGRAM_MODELTYPE" val="flashPicture"/>
  <p:tag name="KSO_WM_UNIT_VALUE" val="1150*2045"/>
  <p:tag name="KSO_WM_UNIT_HIGHLIGHT" val="0"/>
  <p:tag name="KSO_WM_UNIT_COMPATIBLE" val="0"/>
  <p:tag name="KSO_WM_UNIT_DIAGRAM_ISNUMVISUAL" val="0"/>
  <p:tag name="KSO_WM_UNIT_DIAGRAM_ISREFERUNIT" val="0"/>
  <p:tag name="KSO_WM_DIAGRAM_GROUP_CODE" val="ζ1-1"/>
  <p:tag name="KSO_WM_UNIT_TYPE" val="ζ_h_d"/>
  <p:tag name="KSO_WM_UNIT_INDEX" val="1_6_1"/>
  <p:tag name="KSO_WM_UNIT_ID" val="mixed20199731_1*ζ_h_d*1_6_1"/>
  <p:tag name="KSO_WM_TEMPLATE_CATEGORY" val="mixed"/>
  <p:tag name="KSO_WM_TEMPLATE_INDEX" val="20199731"/>
  <p:tag name="KSO_WM_UNIT_LAYERLEVEL" val="1_1_1"/>
  <p:tag name="KSO_WM_TAG_VERSION" val="1.0"/>
  <p:tag name="KSO_WM_BEAUTIFY_FLAG" val="#wm#"/>
  <p:tag name="KSO_WM_UNIT_FLASH_PICTURE_RATE" val="2"/>
</p:tagLst>
</file>

<file path=ppt/tags/tag184.xml><?xml version="1.0" encoding="utf-8"?>
<p:tagLst xmlns:p="http://schemas.openxmlformats.org/presentationml/2006/main">
  <p:tag name="KSO_WM_UNIT_FLASH_PICTURE_TYPE" val="0"/>
</p:tagLst>
</file>

<file path=ppt/tags/tag185.xml><?xml version="1.0" encoding="utf-8"?>
<p:tagLst xmlns:p="http://schemas.openxmlformats.org/presentationml/2006/main">
  <p:tag name="KSO_WM_SLIDE_MODEL_TYPE" val="numdgm"/>
</p:tagLst>
</file>

<file path=ppt/tags/tag186.xml><?xml version="1.0" encoding="utf-8"?>
<p:tagLst xmlns:p="http://schemas.openxmlformats.org/presentationml/2006/main"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753274a3-d12c-43a4-9eff-64603729bf8b"/>
  <p:tag name="KSO_WM_DOC_GUID" val="{e327689a-4765-4ad9-884a-7edb8f5c567c}"/>
</p:tagLst>
</file>

<file path=ppt/tags/tag19.xml><?xml version="1.0" encoding="utf-8"?>
<p:tagLst xmlns:p="http://schemas.openxmlformats.org/presentationml/2006/main"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h_f"/>
  <p:tag name="KSO_WM_UNIT_INDEX" val="1_2_1_1"/>
  <p:tag name="KSO_WM_UNIT_ID" val="diagram20200181_3*m_h_h_f*1_2_1_1"/>
  <p:tag name="KSO_WM_TEMPLATE_CATEGORY" val="diagram"/>
  <p:tag name="KSO_WM_TEMPLATE_INDEX" val="20200181"/>
  <p:tag name="KSO_WM_UNIT_LAYERLEVEL" val="1_1_1_1"/>
  <p:tag name="KSO_WM_TAG_VERSION" val="1.0"/>
  <p:tag name="KSO_WM_BEAUTIFY_FLAG" val="#wm#"/>
  <p:tag name="KSO_WM_UNIT_PRESET_TEXT" val="单击此处添加文本具体内容，简明扼要的阐述您的观点。"/>
  <p:tag name="KSO_WM_UNIT_VALUE" val="46"/>
  <p:tag name="KSO_WM_UNIT_TEXT_FILL_FORE_SCHEMECOLOR_INDEX" val="14"/>
  <p:tag name="KSO_WM_UNIT_TEXT_FILL_TYPE" val="1"/>
</p:tagLst>
</file>

<file path=ppt/tags/tag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i"/>
  <p:tag name="KSO_WM_UNIT_INDEX" val="1_2"/>
  <p:tag name="KSO_WM_UNIT_ID" val="diagram20200181_3*m_i*1_2"/>
  <p:tag name="KSO_WM_TEMPLATE_CATEGORY" val="diagram"/>
  <p:tag name="KSO_WM_TEMPLATE_INDEX" val="20200181"/>
  <p:tag name="KSO_WM_UNIT_LAYERLEVEL" val="1_1"/>
  <p:tag name="KSO_WM_TAG_VERSION" val="1.0"/>
  <p:tag name="KSO_WM_BEAUTIFY_FLAG" val="#wm#"/>
  <p:tag name="KSO_WM_UNIT_LINE_FORE_SCHEMECOLOR_INDEX" val="14"/>
  <p:tag name="KSO_WM_UNIT_LINE_FILL_TYPE" val="2"/>
</p:tagLst>
</file>

<file path=ppt/tags/tag20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a"/>
  <p:tag name="KSO_WM_UNIT_INDEX" val="1_2_1"/>
  <p:tag name="KSO_WM_UNIT_ID" val="diagram20200181_3*m_h_a*1_2_1"/>
  <p:tag name="KSO_WM_TEMPLATE_CATEGORY" val="diagram"/>
  <p:tag name="KSO_WM_TEMPLATE_INDEX" val="20200181"/>
  <p:tag name="KSO_WM_UNIT_LAYERLEVEL" val="1_1_1"/>
  <p:tag name="KSO_WM_TAG_VERSION" val="1.0"/>
  <p:tag name="KSO_WM_BEAUTIFY_FLAG" val="#wm#"/>
  <p:tag name="KSO_WM_UNIT_PRESET_TEXT" val="单击此处添加标题"/>
  <p:tag name="KSO_WM_UNIT_VALUE" val="17"/>
  <p:tag name="KSO_WM_UNIT_TEXT_FILL_FORE_SCHEMECOLOR_INDEX" val="13"/>
  <p:tag name="KSO_WM_UNIT_TEXT_FILL_TYPE" val="1"/>
</p:tagLst>
</file>

<file path=ppt/tags/tag21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h_a"/>
  <p:tag name="KSO_WM_UNIT_INDEX" val="1_2_1_1"/>
  <p:tag name="KSO_WM_UNIT_ID" val="diagram20200181_3*m_h_h_a*1_2_1_1"/>
  <p:tag name="KSO_WM_TEMPLATE_CATEGORY" val="diagram"/>
  <p:tag name="KSO_WM_TEMPLATE_INDEX" val="20200181"/>
  <p:tag name="KSO_WM_UNIT_LAYERLEVEL" val="1_1_1_1"/>
  <p:tag name="KSO_WM_TAG_VERSION" val="1.0"/>
  <p:tag name="KSO_WM_BEAUTIFY_FLAG" val="#wm#"/>
  <p:tag name="KSO_WM_UNIT_PRESET_TEXT" val="单击此处添加文本"/>
  <p:tag name="KSO_WM_UNIT_VALUE" val="17"/>
  <p:tag name="KSO_WM_UNIT_TEXT_FILL_FORE_SCHEMECOLOR_INDEX" val="5"/>
  <p:tag name="KSO_WM_UNIT_TEXT_FILL_TYPE" val="1"/>
</p:tagLst>
</file>

<file path=ppt/tags/tag2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4_2"/>
  <p:tag name="KSO_WM_UNIT_ID" val="diagram20200181_3*m_h_i*1_4_2"/>
  <p:tag name="KSO_WM_TEMPLATE_CATEGORY" val="diagram"/>
  <p:tag name="KSO_WM_TEMPLATE_INDEX" val="20200181"/>
  <p:tag name="KSO_WM_UNIT_LAYERLEVEL" val="1_1_1"/>
  <p:tag name="KSO_WM_TAG_VERSION" val="1.0"/>
  <p:tag name="KSO_WM_BEAUTIFY_FLAG" val="#wm#"/>
  <p:tag name="KSO_WM_UNIT_TEXT_FILL_FORE_SCHEMECOLOR_INDEX" val="5"/>
  <p:tag name="KSO_WM_UNIT_TEXT_FILL_TYPE" val="1"/>
</p:tagLst>
</file>

<file path=ppt/tags/tag23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a"/>
  <p:tag name="KSO_WM_UNIT_INDEX" val="1_1_1"/>
  <p:tag name="KSO_WM_UNIT_ID" val="diagram20200181_3*m_h_a*1_1_1"/>
  <p:tag name="KSO_WM_TEMPLATE_CATEGORY" val="diagram"/>
  <p:tag name="KSO_WM_TEMPLATE_INDEX" val="20200181"/>
  <p:tag name="KSO_WM_UNIT_LAYERLEVEL" val="1_1_1"/>
  <p:tag name="KSO_WM_TAG_VERSION" val="1.0"/>
  <p:tag name="KSO_WM_BEAUTIFY_FLAG" val="#wm#"/>
  <p:tag name="KSO_WM_UNIT_PRESET_TEXT" val="单击此处添加标题"/>
  <p:tag name="KSO_WM_UNIT_VALUE" val="17"/>
  <p:tag name="KSO_WM_UNIT_TEXT_FILL_FORE_SCHEMECOLOR_INDEX" val="13"/>
  <p:tag name="KSO_WM_UNIT_TEXT_FILL_TYPE" val="1"/>
</p:tagLst>
</file>

<file path=ppt/tags/tag2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1_1"/>
  <p:tag name="KSO_WM_UNIT_ID" val="diagram20200181_3*m_h_i*1_1_1"/>
  <p:tag name="KSO_WM_TEMPLATE_CATEGORY" val="diagram"/>
  <p:tag name="KSO_WM_TEMPLATE_INDEX" val="20200181"/>
  <p:tag name="KSO_WM_UNIT_LAYERLEVEL" val="1_1_1"/>
  <p:tag name="KSO_WM_TAG_VERSION" val="1.0"/>
  <p:tag name="KSO_WM_BEAUTIFY_FLAG" val="#wm#"/>
  <p:tag name="KSO_WM_UNIT_TEXT_FILL_FORE_SCHEMECOLOR_INDEX" val="5"/>
  <p:tag name="KSO_WM_UNIT_TEXT_FILL_TYPE" val="1"/>
</p:tagLst>
</file>

<file path=ppt/tags/tag25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h_a"/>
  <p:tag name="KSO_WM_UNIT_INDEX" val="1_1_1_1"/>
  <p:tag name="KSO_WM_UNIT_ID" val="diagram20200181_3*m_h_h_a*1_1_1_1"/>
  <p:tag name="KSO_WM_TEMPLATE_CATEGORY" val="diagram"/>
  <p:tag name="KSO_WM_TEMPLATE_INDEX" val="20200181"/>
  <p:tag name="KSO_WM_UNIT_LAYERLEVEL" val="1_1_1_1"/>
  <p:tag name="KSO_WM_TAG_VERSION" val="1.0"/>
  <p:tag name="KSO_WM_BEAUTIFY_FLAG" val="#wm#"/>
  <p:tag name="KSO_WM_UNIT_PRESET_TEXT" val="单击此处添加文本"/>
  <p:tag name="KSO_WM_UNIT_VALUE" val="17"/>
  <p:tag name="KSO_WM_UNIT_TEXT_FILL_FORE_SCHEMECOLOR_INDEX" val="5"/>
  <p:tag name="KSO_WM_UNIT_TEXT_FILL_TYPE" val="1"/>
</p:tagLst>
</file>

<file path=ppt/tags/tag2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3_2"/>
  <p:tag name="KSO_WM_UNIT_ID" val="diagram20200181_3*m_h_i*1_3_2"/>
  <p:tag name="KSO_WM_TEMPLATE_CATEGORY" val="diagram"/>
  <p:tag name="KSO_WM_TEMPLATE_INDEX" val="20200181"/>
  <p:tag name="KSO_WM_UNIT_LAYERLEVEL" val="1_1_1"/>
  <p:tag name="KSO_WM_TAG_VERSION" val="1.0"/>
  <p:tag name="KSO_WM_BEAUTIFY_FLAG" val="#wm#"/>
  <p:tag name="KSO_WM_UNIT_TEXT_FILL_FORE_SCHEMECOLOR_INDEX" val="5"/>
  <p:tag name="KSO_WM_UNIT_TEXT_FILL_TYPE" val="1"/>
</p:tagLst>
</file>

<file path=ppt/tags/tag27.xml><?xml version="1.0" encoding="utf-8"?>
<p:tagLst xmlns:p="http://schemas.openxmlformats.org/presentationml/2006/main"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h_f"/>
  <p:tag name="KSO_WM_UNIT_INDEX" val="1_3_1_1"/>
  <p:tag name="KSO_WM_UNIT_ID" val="diagram20200181_3*m_h_h_f*1_3_1_1"/>
  <p:tag name="KSO_WM_TEMPLATE_CATEGORY" val="diagram"/>
  <p:tag name="KSO_WM_TEMPLATE_INDEX" val="20200181"/>
  <p:tag name="KSO_WM_UNIT_LAYERLEVEL" val="1_1_1_1"/>
  <p:tag name="KSO_WM_TAG_VERSION" val="1.0"/>
  <p:tag name="KSO_WM_BEAUTIFY_FLAG" val="#wm#"/>
  <p:tag name="KSO_WM_UNIT_VALUE" val="40"/>
  <p:tag name="KSO_WM_UNIT_PRESET_TEXT" val="单击此处添加文本具体内容，简明扼要的阐述您的观点。"/>
  <p:tag name="KSO_WM_UNIT_TEXT_FILL_FORE_SCHEMECOLOR_INDEX" val="14"/>
  <p:tag name="KSO_WM_UNIT_TEXT_FILL_TYPE" val="1"/>
</p:tagLst>
</file>

<file path=ppt/tags/tag28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a"/>
  <p:tag name="KSO_WM_UNIT_INDEX" val="1_3_1"/>
  <p:tag name="KSO_WM_UNIT_ID" val="diagram20200181_3*m_h_a*1_3_1"/>
  <p:tag name="KSO_WM_TEMPLATE_CATEGORY" val="diagram"/>
  <p:tag name="KSO_WM_TEMPLATE_INDEX" val="20200181"/>
  <p:tag name="KSO_WM_UNIT_LAYERLEVEL" val="1_1_1"/>
  <p:tag name="KSO_WM_TAG_VERSION" val="1.0"/>
  <p:tag name="KSO_WM_BEAUTIFY_FLAG" val="#wm#"/>
  <p:tag name="KSO_WM_UNIT_VALUE" val="15"/>
  <p:tag name="KSO_WM_UNIT_PRESET_TEXT" val="单击此处添加标题"/>
  <p:tag name="KSO_WM_UNIT_TEXT_FILL_FORE_SCHEMECOLOR_INDEX" val="13"/>
  <p:tag name="KSO_WM_UNIT_TEXT_FILL_TYPE" val="1"/>
</p:tagLst>
</file>

<file path=ppt/tags/tag29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h_a"/>
  <p:tag name="KSO_WM_UNIT_INDEX" val="1_3_1_1"/>
  <p:tag name="KSO_WM_UNIT_ID" val="diagram20200181_3*m_h_h_a*1_3_1_1"/>
  <p:tag name="KSO_WM_TEMPLATE_CATEGORY" val="diagram"/>
  <p:tag name="KSO_WM_TEMPLATE_INDEX" val="20200181"/>
  <p:tag name="KSO_WM_UNIT_LAYERLEVEL" val="1_1_1_1"/>
  <p:tag name="KSO_WM_TAG_VERSION" val="1.0"/>
  <p:tag name="KSO_WM_BEAUTIFY_FLAG" val="#wm#"/>
  <p:tag name="KSO_WM_UNIT_VALUE" val="15"/>
  <p:tag name="KSO_WM_UNIT_PRESET_TEXT" val="单击此处添加文本"/>
  <p:tag name="KSO_WM_UNIT_TEXT_FILL_FORE_SCHEMECOLOR_INDEX" val="5"/>
  <p:tag name="KSO_WM_UNIT_TEXT_FILL_TYPE" val="1"/>
</p:tagLst>
</file>

<file path=ppt/tags/tag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i"/>
  <p:tag name="KSO_WM_UNIT_INDEX" val="1_3"/>
  <p:tag name="KSO_WM_UNIT_ID" val="diagram20200181_3*m_i*1_3"/>
  <p:tag name="KSO_WM_TEMPLATE_CATEGORY" val="diagram"/>
  <p:tag name="KSO_WM_TEMPLATE_INDEX" val="20200181"/>
  <p:tag name="KSO_WM_UNIT_LAYERLEVEL" val="1_1"/>
  <p:tag name="KSO_WM_TAG_VERSION" val="1.0"/>
  <p:tag name="KSO_WM_BEAUTIFY_FLAG" val="#wm#"/>
  <p:tag name="KSO_WM_UNIT_LINE_FORE_SCHEMECOLOR_INDEX" val="14"/>
  <p:tag name="KSO_WM_UNIT_LINE_FILL_TYPE" val="2"/>
</p:tagLst>
</file>

<file path=ppt/tags/tag30.xml><?xml version="1.0" encoding="utf-8"?>
<p:tagLst xmlns:p="http://schemas.openxmlformats.org/presentationml/2006/main">
  <p:tag name="KSO_WM_SLIDE_MODEL_TYPE" val="numdgm"/>
</p:tagLst>
</file>

<file path=ppt/tags/tag31.xml><?xml version="1.0" encoding="utf-8"?>
<p:tagLst xmlns:p="http://schemas.openxmlformats.org/presentationml/2006/main">
  <p:tag name="THINKCELLSHAPEDONOTDELETE" val="pffKPJ6LOU0CzfgqS0LoQkg"/>
</p:tagLst>
</file>

<file path=ppt/tags/tag32.xml><?xml version="1.0" encoding="utf-8"?>
<p:tagLst xmlns:p="http://schemas.openxmlformats.org/presentationml/2006/main">
  <p:tag name="THINKCELLSHAPEDONOTDELETE" val="p5RnfddOpUEWWKASLU102Fw"/>
</p:tagLst>
</file>

<file path=ppt/tags/tag33.xml><?xml version="1.0" encoding="utf-8"?>
<p:tagLst xmlns:p="http://schemas.openxmlformats.org/presentationml/2006/main">
  <p:tag name="THINKCELLSHAPEDONOTDELETE" val="pMNr3NdZ8XkqtMAP1iCTN5Q"/>
</p:tagLst>
</file>

<file path=ppt/tags/tag34.xml><?xml version="1.0" encoding="utf-8"?>
<p:tagLst xmlns:p="http://schemas.openxmlformats.org/presentationml/2006/main">
  <p:tag name="THINKCELLSHAPEDONOTDELETE" val="pDbxjlexDCEexl3MbOpH2fQ"/>
</p:tagLst>
</file>

<file path=ppt/tags/tag35.xml><?xml version="1.0" encoding="utf-8"?>
<p:tagLst xmlns:p="http://schemas.openxmlformats.org/presentationml/2006/main">
  <p:tag name="THINKCELLSHAPEDONOTDELETE" val="pH3QoBr8ZPUedA97SJ7iYlA"/>
</p:tagLst>
</file>

<file path=ppt/tags/tag36.xml><?xml version="1.0" encoding="utf-8"?>
<p:tagLst xmlns:p="http://schemas.openxmlformats.org/presentationml/2006/main">
  <p:tag name="THINKCELLSHAPEDONOTDELETE" val="plKRNqAy9O0KkkxXfnJ1hkQ"/>
</p:tagLst>
</file>

<file path=ppt/tags/tag37.xml><?xml version="1.0" encoding="utf-8"?>
<p:tagLst xmlns:p="http://schemas.openxmlformats.org/presentationml/2006/main">
  <p:tag name="THINKCELLSHAPEDONOTDELETE" val="pGTIyjRKpNk6.ezbmHUyLCw"/>
</p:tagLst>
</file>

<file path=ppt/tags/tag38.xml><?xml version="1.0" encoding="utf-8"?>
<p:tagLst xmlns:p="http://schemas.openxmlformats.org/presentationml/2006/main">
  <p:tag name="THINKCELLSHAPEDONOTDELETE" val="pHtpRjbKPhUuRqLuUcwLpdg"/>
</p:tagLst>
</file>

<file path=ppt/tags/tag39.xml><?xml version="1.0" encoding="utf-8"?>
<p:tagLst xmlns:p="http://schemas.openxmlformats.org/presentationml/2006/main">
  <p:tag name="THINKCELLSHAPEDONOTDELETE" val="pt.d2MhCzokqrW7MF_wzZ9Q"/>
</p:tagLst>
</file>

<file path=ppt/tags/tag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1_1"/>
  <p:tag name="KSO_WM_UNIT_ID" val="diagram20200181_3*m_h_i*1_1_1"/>
  <p:tag name="KSO_WM_TEMPLATE_CATEGORY" val="diagram"/>
  <p:tag name="KSO_WM_TEMPLATE_INDEX" val="20200181"/>
  <p:tag name="KSO_WM_UNIT_LAYERLEVEL" val="1_1_1"/>
  <p:tag name="KSO_WM_TAG_VERSION" val="1.0"/>
  <p:tag name="KSO_WM_BEAUTIFY_FLAG" val="#wm#"/>
  <p:tag name="KSO_WM_UNIT_TEXT_FILL_FORE_SCHEMECOLOR_INDEX" val="5"/>
  <p:tag name="KSO_WM_UNIT_TEXT_FILL_TYPE" val="1"/>
</p:tagLst>
</file>

<file path=ppt/tags/tag40.xml><?xml version="1.0" encoding="utf-8"?>
<p:tagLst xmlns:p="http://schemas.openxmlformats.org/presentationml/2006/main">
  <p:tag name="THINKCELLSHAPEDONOTDELETE" val="pCCIebUegAUmvqbV2eHxyhg"/>
</p:tagLst>
</file>

<file path=ppt/tags/tag41.xml><?xml version="1.0" encoding="utf-8"?>
<p:tagLst xmlns:p="http://schemas.openxmlformats.org/presentationml/2006/main">
  <p:tag name="THINKCELLSHAPEDONOTDELETE" val="p.itwZtZN40GwXQulncT5cA"/>
</p:tagLst>
</file>

<file path=ppt/tags/tag42.xml><?xml version="1.0" encoding="utf-8"?>
<p:tagLst xmlns:p="http://schemas.openxmlformats.org/presentationml/2006/main">
  <p:tag name="THINKCELLSHAPEDONOTDELETE" val="pe5qK6XMXVESSD1iqPOOq9Q"/>
</p:tagLst>
</file>

<file path=ppt/tags/tag43.xml><?xml version="1.0" encoding="utf-8"?>
<p:tagLst xmlns:p="http://schemas.openxmlformats.org/presentationml/2006/main">
  <p:tag name="THINKCELLSHAPEDONOTDELETE" val="pdHeZGsTH0EKVh0QJh0IFDw"/>
</p:tagLst>
</file>

<file path=ppt/tags/tag44.xml><?xml version="1.0" encoding="utf-8"?>
<p:tagLst xmlns:p="http://schemas.openxmlformats.org/presentationml/2006/main">
  <p:tag name="THINKCELLSHAPEDONOTDELETE" val="peIBM5CHCLUiJr7OVuDtxjA"/>
</p:tagLst>
</file>

<file path=ppt/tags/tag45.xml><?xml version="1.0" encoding="utf-8"?>
<p:tagLst xmlns:p="http://schemas.openxmlformats.org/presentationml/2006/main">
  <p:tag name="THINKCELLSHAPEDONOTDELETE" val="pUUfwgmAzJ0eZcZ_o65WHQg"/>
</p:tagLst>
</file>

<file path=ppt/tags/tag46.xml><?xml version="1.0" encoding="utf-8"?>
<p:tagLst xmlns:p="http://schemas.openxmlformats.org/presentationml/2006/main">
  <p:tag name="THINKCELLSHAPEDONOTDELETE" val="p90wIilvOXE.HZsQ1xCmnwg"/>
</p:tagLst>
</file>

<file path=ppt/tags/tag47.xml><?xml version="1.0" encoding="utf-8"?>
<p:tagLst xmlns:p="http://schemas.openxmlformats.org/presentationml/2006/main">
  <p:tag name="THINKCELLSHAPEDONOTDELETE" val="pbdk8ffzsMEK5jb_RQhrmQg"/>
</p:tagLst>
</file>

<file path=ppt/tags/tag48.xml><?xml version="1.0" encoding="utf-8"?>
<p:tagLst xmlns:p="http://schemas.openxmlformats.org/presentationml/2006/main">
  <p:tag name="THINKCELLSHAPEDONOTDELETE" val="pSBfs0eWSl0Om7kM9.UawOA"/>
</p:tagLst>
</file>

<file path=ppt/tags/tag49.xml><?xml version="1.0" encoding="utf-8"?>
<p:tagLst xmlns:p="http://schemas.openxmlformats.org/presentationml/2006/main">
  <p:tag name="THINKCELLSHAPEDONOTDELETE" val="pEjW50pSqQUaa2kJRHbq84Q"/>
</p:tagLst>
</file>

<file path=ppt/tags/tag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1_3"/>
  <p:tag name="KSO_WM_UNIT_ID" val="diagram20200181_3*m_h_i*1_1_3"/>
  <p:tag name="KSO_WM_TEMPLATE_CATEGORY" val="diagram"/>
  <p:tag name="KSO_WM_TEMPLATE_INDEX" val="20200181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LINE_FORE_SCHEMECOLOR_INDEX" val="14"/>
  <p:tag name="KSO_WM_UNIT_LINE_FILL_TYPE" val="2"/>
  <p:tag name="KSO_WM_UNIT_TEXT_FILL_FORE_SCHEMECOLOR_INDEX" val="2"/>
  <p:tag name="KSO_WM_UNIT_TEXT_FILL_TYPE" val="1"/>
</p:tagLst>
</file>

<file path=ppt/tags/tag50.xml><?xml version="1.0" encoding="utf-8"?>
<p:tagLst xmlns:p="http://schemas.openxmlformats.org/presentationml/2006/main">
  <p:tag name="THINKCELLSHAPEDONOTDELETE" val="prr4oI9KYbEmc7X5Cbha8PQ"/>
</p:tagLst>
</file>

<file path=ppt/tags/tag51.xml><?xml version="1.0" encoding="utf-8"?>
<p:tagLst xmlns:p="http://schemas.openxmlformats.org/presentationml/2006/main">
  <p:tag name="THINKCELLSHAPEDONOTDELETE" val="phWGsk0z5X0uErmuJe3W.Yg"/>
</p:tagLst>
</file>

<file path=ppt/tags/tag52.xml><?xml version="1.0" encoding="utf-8"?>
<p:tagLst xmlns:p="http://schemas.openxmlformats.org/presentationml/2006/main">
  <p:tag name="THINKCELLSHAPEDONOTDELETE" val="plZOhnvP3Y0qWiVEM1bly8w"/>
</p:tagLst>
</file>

<file path=ppt/tags/tag53.xml><?xml version="1.0" encoding="utf-8"?>
<p:tagLst xmlns:p="http://schemas.openxmlformats.org/presentationml/2006/main">
  <p:tag name="THINKCELLSHAPEDONOTDELETE" val="ptpcfKQ3WekCKwXuZtn1WMA"/>
</p:tagLst>
</file>

<file path=ppt/tags/tag54.xml><?xml version="1.0" encoding="utf-8"?>
<p:tagLst xmlns:p="http://schemas.openxmlformats.org/presentationml/2006/main">
  <p:tag name="THINKCELLSHAPEDONOTDELETE" val="plJ1lnoislEuMVb75drt0Aw"/>
</p:tagLst>
</file>

<file path=ppt/tags/tag55.xml><?xml version="1.0" encoding="utf-8"?>
<p:tagLst xmlns:p="http://schemas.openxmlformats.org/presentationml/2006/main">
  <p:tag name="THINKCELLSHAPEDONOTDELETE" val="pWxesq6DoNEi.HuDMFg9ouA"/>
</p:tagLst>
</file>

<file path=ppt/tags/tag56.xml><?xml version="1.0" encoding="utf-8"?>
<p:tagLst xmlns:p="http://schemas.openxmlformats.org/presentationml/2006/main">
  <p:tag name="THINKCELLSHAPEDONOTDELETE" val="pEMdKNlBfM06KTJ7e2FA7OA"/>
</p:tagLst>
</file>

<file path=ppt/tags/tag57.xml><?xml version="1.0" encoding="utf-8"?>
<p:tagLst xmlns:p="http://schemas.openxmlformats.org/presentationml/2006/main">
  <p:tag name="THINKCELLSHAPEDONOTDELETE" val="p9IHAXCf_2EGriSsNlbJGew"/>
</p:tagLst>
</file>

<file path=ppt/tags/tag58.xml><?xml version="1.0" encoding="utf-8"?>
<p:tagLst xmlns:p="http://schemas.openxmlformats.org/presentationml/2006/main">
  <p:tag name="THINKCELLSHAPEDONOTDELETE" val="pkFHOzWFNf0eLppo73N3OSg"/>
</p:tagLst>
</file>

<file path=ppt/tags/tag59.xml><?xml version="1.0" encoding="utf-8"?>
<p:tagLst xmlns:p="http://schemas.openxmlformats.org/presentationml/2006/main">
  <p:tag name="THINKCELLSHAPEDONOTDELETE" val="pVhE28E_ewk2.HUf6.8g2kw"/>
</p:tagLst>
</file>

<file path=ppt/tags/tag6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h_a"/>
  <p:tag name="KSO_WM_UNIT_INDEX" val="1_1_1_1"/>
  <p:tag name="KSO_WM_UNIT_ID" val="diagram20200181_3*m_h_h_a*1_1_1_1"/>
  <p:tag name="KSO_WM_TEMPLATE_CATEGORY" val="diagram"/>
  <p:tag name="KSO_WM_TEMPLATE_INDEX" val="20200181"/>
  <p:tag name="KSO_WM_UNIT_LAYERLEVEL" val="1_1_1_1"/>
  <p:tag name="KSO_WM_TAG_VERSION" val="1.0"/>
  <p:tag name="KSO_WM_BEAUTIFY_FLAG" val="#wm#"/>
  <p:tag name="KSO_WM_UNIT_PRESET_TEXT" val="单击此处添加文本"/>
  <p:tag name="KSO_WM_UNIT_VALUE" val="17"/>
  <p:tag name="KSO_WM_UNIT_TEXT_FILL_FORE_SCHEMECOLOR_INDEX" val="5"/>
  <p:tag name="KSO_WM_UNIT_TEXT_FILL_TYPE" val="1"/>
</p:tagLst>
</file>

<file path=ppt/tags/tag60.xml><?xml version="1.0" encoding="utf-8"?>
<p:tagLst xmlns:p="http://schemas.openxmlformats.org/presentationml/2006/main">
  <p:tag name="THINKCELLSHAPEDONOTDELETE" val="pGT2Tbe8WmEqG.FmkuXdohg"/>
</p:tagLst>
</file>

<file path=ppt/tags/tag61.xml><?xml version="1.0" encoding="utf-8"?>
<p:tagLst xmlns:p="http://schemas.openxmlformats.org/presentationml/2006/main">
  <p:tag name="THINKCELLSHAPEDONOTDELETE" val="pax7ZRnUxUk6k2KFUlW6z4g"/>
</p:tagLst>
</file>

<file path=ppt/tags/tag62.xml><?xml version="1.0" encoding="utf-8"?>
<p:tagLst xmlns:p="http://schemas.openxmlformats.org/presentationml/2006/main">
  <p:tag name="THINKCELLSHAPEDONOTDELETE" val="pHXFoydIU2ESmft41ch_u_A"/>
</p:tagLst>
</file>

<file path=ppt/tags/tag63.xml><?xml version="1.0" encoding="utf-8"?>
<p:tagLst xmlns:p="http://schemas.openxmlformats.org/presentationml/2006/main">
  <p:tag name="THINKCELLSHAPEDONOTDELETE" val="pHXFoydIU2ESmft41ch_u_A"/>
</p:tagLst>
</file>

<file path=ppt/tags/tag64.xml><?xml version="1.0" encoding="utf-8"?>
<p:tagLst xmlns:p="http://schemas.openxmlformats.org/presentationml/2006/main">
  <p:tag name="THINKCELLSHAPEDONOTDELETE" val="pHXFoydIU2ESmft41ch_u_A"/>
</p:tagLst>
</file>

<file path=ppt/tags/tag65.xml><?xml version="1.0" encoding="utf-8"?>
<p:tagLst xmlns:p="http://schemas.openxmlformats.org/presentationml/2006/main">
  <p:tag name="THINKCELLSHAPEDONOTDELETE" val="pHXFoydIU2ESmft41ch_u_A"/>
</p:tagLst>
</file>

<file path=ppt/tags/tag66.xml><?xml version="1.0" encoding="utf-8"?>
<p:tagLst xmlns:p="http://schemas.openxmlformats.org/presentationml/2006/main">
  <p:tag name="THINKCELLSHAPEDONOTDELETE" val="p5RnfddOpUEWWKASLU102Fw"/>
</p:tagLst>
</file>

<file path=ppt/tags/tag67.xml><?xml version="1.0" encoding="utf-8"?>
<p:tagLst xmlns:p="http://schemas.openxmlformats.org/presentationml/2006/main">
  <p:tag name="THINKCELLSHAPEDONOTDELETE" val="pHtpRjbKPhUuRqLuUcwLpdg"/>
</p:tagLst>
</file>

<file path=ppt/tags/tag68.xml><?xml version="1.0" encoding="utf-8"?>
<p:tagLst xmlns:p="http://schemas.openxmlformats.org/presentationml/2006/main">
  <p:tag name="THINKCELLSHAPEDONOTDELETE" val="pt.d2MhCzokqrW7MF_wzZ9Q"/>
</p:tagLst>
</file>

<file path=ppt/tags/tag69.xml><?xml version="1.0" encoding="utf-8"?>
<p:tagLst xmlns:p="http://schemas.openxmlformats.org/presentationml/2006/main">
  <p:tag name="THINKCELLSHAPEDONOTDELETE" val="pCCIebUegAUmvqbV2eHxyhg"/>
</p:tagLst>
</file>

<file path=ppt/tags/tag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3_1"/>
  <p:tag name="KSO_WM_UNIT_ID" val="diagram20200181_3*m_h_i*1_3_1"/>
  <p:tag name="KSO_WM_TEMPLATE_CATEGORY" val="diagram"/>
  <p:tag name="KSO_WM_TEMPLATE_INDEX" val="20200181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LINE_FORE_SCHEMECOLOR_INDEX" val="14"/>
  <p:tag name="KSO_WM_UNIT_LINE_FILL_TYPE" val="2"/>
  <p:tag name="KSO_WM_UNIT_TEXT_FILL_FORE_SCHEMECOLOR_INDEX" val="2"/>
  <p:tag name="KSO_WM_UNIT_TEXT_FILL_TYPE" val="1"/>
</p:tagLst>
</file>

<file path=ppt/tags/tag70.xml><?xml version="1.0" encoding="utf-8"?>
<p:tagLst xmlns:p="http://schemas.openxmlformats.org/presentationml/2006/main">
  <p:tag name="THINKCELLSHAPEDONOTDELETE" val="ptpcfKQ3WekCKwXuZtn1WMA"/>
</p:tagLst>
</file>

<file path=ppt/tags/tag71.xml><?xml version="1.0" encoding="utf-8"?>
<p:tagLst xmlns:p="http://schemas.openxmlformats.org/presentationml/2006/main">
  <p:tag name="THINKCELLSHAPEDONOTDELETE" val="pHXFoydIU2ESmft41ch_u_A"/>
</p:tagLst>
</file>

<file path=ppt/tags/tag72.xml><?xml version="1.0" encoding="utf-8"?>
<p:tagLst xmlns:p="http://schemas.openxmlformats.org/presentationml/2006/main">
  <p:tag name="KSO_WM_SLIDE_MODEL_TYPE" val="numdgm"/>
</p:tagLst>
</file>

<file path=ppt/tags/tag73.xml><?xml version="1.0" encoding="utf-8"?>
<p:tagLst xmlns:p="http://schemas.openxmlformats.org/presentationml/2006/main">
  <p:tag name="THINKCELLSHAPEDONOTDELETE" val="ptpcfKQ3WekCKwXuZtn1WMA"/>
</p:tagLst>
</file>

<file path=ppt/tags/tag74.xml><?xml version="1.0" encoding="utf-8"?>
<p:tagLst xmlns:p="http://schemas.openxmlformats.org/presentationml/2006/main">
  <p:tag name="THINKCELLSHAPEDONOTDELETE" val="p.itwZtZN40GwXQulncT5cA"/>
</p:tagLst>
</file>

<file path=ppt/tags/tag75.xml><?xml version="1.0" encoding="utf-8"?>
<p:tagLst xmlns:p="http://schemas.openxmlformats.org/presentationml/2006/main">
  <p:tag name="THINKCELLSHAPEDONOTDELETE" val="pe5qK6XMXVESSD1iqPOOq9Q"/>
</p:tagLst>
</file>

<file path=ppt/tags/tag76.xml><?xml version="1.0" encoding="utf-8"?>
<p:tagLst xmlns:p="http://schemas.openxmlformats.org/presentationml/2006/main">
  <p:tag name="THINKCELLSHAPEDONOTDELETE" val="pdHeZGsTH0EKVh0QJh0IFDw"/>
</p:tagLst>
</file>

<file path=ppt/tags/tag77.xml><?xml version="1.0" encoding="utf-8"?>
<p:tagLst xmlns:p="http://schemas.openxmlformats.org/presentationml/2006/main">
  <p:tag name="THINKCELLSHAPEDONOTDELETE" val="peIBM5CHCLUiJr7OVuDtxjA"/>
</p:tagLst>
</file>

<file path=ppt/tags/tag78.xml><?xml version="1.0" encoding="utf-8"?>
<p:tagLst xmlns:p="http://schemas.openxmlformats.org/presentationml/2006/main">
  <p:tag name="THINKCELLSHAPEDONOTDELETE" val="pWxesq6DoNEi.HuDMFg9ouA"/>
</p:tagLst>
</file>

<file path=ppt/tags/tag79.xml><?xml version="1.0" encoding="utf-8"?>
<p:tagLst xmlns:p="http://schemas.openxmlformats.org/presentationml/2006/main">
  <p:tag name="THINKCELLSHAPEDONOTDELETE" val="pffKPJ6LOU0CzfgqS0LoQkg"/>
</p:tagLst>
</file>

<file path=ppt/tags/tag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3_2"/>
  <p:tag name="KSO_WM_UNIT_ID" val="diagram20200181_3*m_h_i*1_3_2"/>
  <p:tag name="KSO_WM_TEMPLATE_CATEGORY" val="diagram"/>
  <p:tag name="KSO_WM_TEMPLATE_INDEX" val="20200181"/>
  <p:tag name="KSO_WM_UNIT_LAYERLEVEL" val="1_1_1"/>
  <p:tag name="KSO_WM_TAG_VERSION" val="1.0"/>
  <p:tag name="KSO_WM_BEAUTIFY_FLAG" val="#wm#"/>
  <p:tag name="KSO_WM_UNIT_TEXT_FILL_FORE_SCHEMECOLOR_INDEX" val="5"/>
  <p:tag name="KSO_WM_UNIT_TEXT_FILL_TYPE" val="1"/>
</p:tagLst>
</file>

<file path=ppt/tags/tag80.xml><?xml version="1.0" encoding="utf-8"?>
<p:tagLst xmlns:p="http://schemas.openxmlformats.org/presentationml/2006/main">
  <p:tag name="THINKCELLSHAPEDONOTDELETE" val="pMNr3NdZ8XkqtMAP1iCTN5Q"/>
</p:tagLst>
</file>

<file path=ppt/tags/tag81.xml><?xml version="1.0" encoding="utf-8"?>
<p:tagLst xmlns:p="http://schemas.openxmlformats.org/presentationml/2006/main">
  <p:tag name="THINKCELLSHAPEDONOTDELETE" val="pDbxjlexDCEexl3MbOpH2fQ"/>
</p:tagLst>
</file>

<file path=ppt/tags/tag82.xml><?xml version="1.0" encoding="utf-8"?>
<p:tagLst xmlns:p="http://schemas.openxmlformats.org/presentationml/2006/main">
  <p:tag name="THINKCELLSHAPEDONOTDELETE" val="pH3QoBr8ZPUedA97SJ7iYlA"/>
</p:tagLst>
</file>

<file path=ppt/tags/tag83.xml><?xml version="1.0" encoding="utf-8"?>
<p:tagLst xmlns:p="http://schemas.openxmlformats.org/presentationml/2006/main">
  <p:tag name="THINKCELLSHAPEDONOTDELETE" val="pUUfwgmAzJ0eZcZ_o65WHQg"/>
</p:tagLst>
</file>

<file path=ppt/tags/tag84.xml><?xml version="1.0" encoding="utf-8"?>
<p:tagLst xmlns:p="http://schemas.openxmlformats.org/presentationml/2006/main">
  <p:tag name="THINKCELLSHAPEDONOTDELETE" val="pEMdKNlBfM06KTJ7e2FA7OA"/>
</p:tagLst>
</file>

<file path=ppt/tags/tag85.xml><?xml version="1.0" encoding="utf-8"?>
<p:tagLst xmlns:p="http://schemas.openxmlformats.org/presentationml/2006/main">
  <p:tag name="THINKCELLSHAPEDONOTDELETE" val="pGT2Tbe8WmEqG.FmkuXdohg"/>
</p:tagLst>
</file>

<file path=ppt/tags/tag86.xml><?xml version="1.0" encoding="utf-8"?>
<p:tagLst xmlns:p="http://schemas.openxmlformats.org/presentationml/2006/main">
  <p:tag name="THINKCELLSHAPEDONOTDELETE" val="pHXFoydIU2ESmft41ch_u_A"/>
</p:tagLst>
</file>

<file path=ppt/tags/tag87.xml><?xml version="1.0" encoding="utf-8"?>
<p:tagLst xmlns:p="http://schemas.openxmlformats.org/presentationml/2006/main">
  <p:tag name="THINKCELLSHAPEDONOTDELETE" val="pHXFoydIU2ESmft41ch_u_A"/>
</p:tagLst>
</file>

<file path=ppt/tags/tag88.xml><?xml version="1.0" encoding="utf-8"?>
<p:tagLst xmlns:p="http://schemas.openxmlformats.org/presentationml/2006/main">
  <p:tag name="THINKCELLSHAPEDONOTDELETE" val="p90wIilvOXE.HZsQ1xCmnwg"/>
</p:tagLst>
</file>

<file path=ppt/tags/tag8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i"/>
  <p:tag name="KSO_WM_UNIT_INDEX" val="1_1"/>
  <p:tag name="KSO_WM_UNIT_ID" val="diagram20200184_2*m_i*1_1"/>
  <p:tag name="KSO_WM_TEMPLATE_CATEGORY" val="diagram"/>
  <p:tag name="KSO_WM_TEMPLATE_INDEX" val="20200184"/>
  <p:tag name="KSO_WM_UNIT_LAYERLEVEL" val="1_1"/>
  <p:tag name="KSO_WM_TAG_VERSION" val="1.0"/>
  <p:tag name="KSO_WM_BEAUTIFY_FLAG" val="#wm#"/>
  <p:tag name="KSO_WM_UNIT_LINE_FORE_SCHEMECOLOR_INDEX" val="14"/>
  <p:tag name="KSO_WM_UNIT_LINE_FILL_TYPE" val="2"/>
  <p:tag name="KSO_WM_UNIT_TEXT_FILL_FORE_SCHEMECOLOR_INDEX" val="13"/>
  <p:tag name="KSO_WM_UNIT_TEXT_FILL_TYPE" val="1"/>
</p:tagLst>
</file>

<file path=ppt/tags/tag9.xml><?xml version="1.0" encoding="utf-8"?>
<p:tagLst xmlns:p="http://schemas.openxmlformats.org/presentationml/2006/main"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h_f"/>
  <p:tag name="KSO_WM_UNIT_INDEX" val="1_3_1_1"/>
  <p:tag name="KSO_WM_UNIT_ID" val="diagram20200181_3*m_h_h_f*1_3_1_1"/>
  <p:tag name="KSO_WM_TEMPLATE_CATEGORY" val="diagram"/>
  <p:tag name="KSO_WM_TEMPLATE_INDEX" val="20200181"/>
  <p:tag name="KSO_WM_UNIT_LAYERLEVEL" val="1_1_1_1"/>
  <p:tag name="KSO_WM_TAG_VERSION" val="1.0"/>
  <p:tag name="KSO_WM_BEAUTIFY_FLAG" val="#wm#"/>
  <p:tag name="KSO_WM_UNIT_VALUE" val="40"/>
  <p:tag name="KSO_WM_UNIT_PRESET_TEXT" val="单击此处添加文本具体内容，简明扼要的阐述您的观点。"/>
  <p:tag name="KSO_WM_UNIT_TEXT_FILL_FORE_SCHEMECOLOR_INDEX" val="14"/>
  <p:tag name="KSO_WM_UNIT_TEXT_FILL_TYPE" val="1"/>
</p:tagLst>
</file>

<file path=ppt/tags/tag9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1_1"/>
  <p:tag name="KSO_WM_UNIT_ID" val="diagram20200184_2*m_h_i*1_1_1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9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2_1"/>
  <p:tag name="KSO_WM_UNIT_ID" val="diagram20200184_2*m_h_i*1_2_1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9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3_1"/>
  <p:tag name="KSO_WM_UNIT_ID" val="diagram20200184_2*m_h_i*1_3_1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9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1_3"/>
  <p:tag name="KSO_WM_UNIT_ID" val="diagram20200184_2*m_h_i*1_1_3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TEXT_FILL_FORE_SCHEMECOLOR_INDEX" val="13"/>
  <p:tag name="KSO_WM_UNIT_TEXT_FILL_TYPE" val="1"/>
</p:tagLst>
</file>

<file path=ppt/tags/tag9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2_2"/>
  <p:tag name="KSO_WM_UNIT_ID" val="diagram20200184_2*m_h_i*1_2_2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TEXT_FILL_FORE_SCHEMECOLOR_INDEX" val="13"/>
  <p:tag name="KSO_WM_UNIT_TEXT_FILL_TYPE" val="1"/>
</p:tagLst>
</file>

<file path=ppt/tags/tag9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3_2"/>
  <p:tag name="KSO_WM_UNIT_ID" val="diagram20200184_2*m_h_i*1_3_2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TEXT_FILL_FORE_SCHEMECOLOR_INDEX" val="13"/>
  <p:tag name="KSO_WM_UNIT_TEXT_FILL_TYPE" val="1"/>
</p:tagLst>
</file>

<file path=ppt/tags/tag9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i"/>
  <p:tag name="KSO_WM_UNIT_INDEX" val="1"/>
  <p:tag name="KSO_WM_UNIT_ID" val="diagram20200184_2*i*1"/>
  <p:tag name="KSO_WM_TEMPLATE_CATEGORY" val="diagram"/>
  <p:tag name="KSO_WM_TEMPLATE_INDEX" val="20200184"/>
  <p:tag name="KSO_WM_UNIT_LAYERLEVEL" val="1"/>
  <p:tag name="KSO_WM_TAG_VERSION" val="1.0"/>
  <p:tag name="KSO_WM_BEAUTIFY_FLAG" val="#wm#"/>
  <p:tag name="KSO_WM_UNIT_LINE_FORE_SCHEMECOLOR_INDEX" val="14"/>
  <p:tag name="KSO_WM_UNIT_LINE_FILL_TYPE" val="2"/>
</p:tagLst>
</file>

<file path=ppt/tags/tag9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1_4"/>
  <p:tag name="KSO_WM_UNIT_ID" val="diagram20200184_2*m_h_i*1_1_4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LINE_FORE_SCHEMECOLOR_INDEX" val="14"/>
  <p:tag name="KSO_WM_UNIT_LINE_FILL_TYPE" val="2"/>
</p:tagLst>
</file>

<file path=ppt/tags/tag9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1_5"/>
  <p:tag name="KSO_WM_UNIT_ID" val="diagram20200184_2*m_h_i*1_1_5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LINE_FORE_SCHEMECOLOR_INDEX" val="14"/>
  <p:tag name="KSO_WM_UNIT_LINE_FILL_TYPE" val="2"/>
</p:tagLst>
</file>

<file path=ppt/tags/tag9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1_6"/>
  <p:tag name="KSO_WM_UNIT_ID" val="diagram20200184_2*m_h_i*1_1_6"/>
  <p:tag name="KSO_WM_TEMPLATE_CATEGORY" val="diagram"/>
  <p:tag name="KSO_WM_TEMPLATE_INDEX" val="20200184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2"/>
  <p:tag name="KSO_WM_UNIT_TEXT_FILL_TYPE" val="1"/>
</p:tagLst>
</file>

<file path=ppt/theme/theme1.xml><?xml version="1.0" encoding="utf-8"?>
<a:theme xmlns:a="http://schemas.openxmlformats.org/drawingml/2006/main" name="主题6">
  <a:themeElements>
    <a:clrScheme name="自定义 3">
      <a:dk1>
        <a:srgbClr val="2F2F2F"/>
      </a:dk1>
      <a:lt1>
        <a:sysClr val="window" lastClr="FFFFFF"/>
      </a:lt1>
      <a:dk2>
        <a:srgbClr val="636363"/>
      </a:dk2>
      <a:lt2>
        <a:srgbClr val="FFFFFF"/>
      </a:lt2>
      <a:accent1>
        <a:srgbClr val="1A9173"/>
      </a:accent1>
      <a:accent2>
        <a:srgbClr val="636363"/>
      </a:accent2>
      <a:accent3>
        <a:srgbClr val="8B8B8B"/>
      </a:accent3>
      <a:accent4>
        <a:srgbClr val="949494"/>
      </a:accent4>
      <a:accent5>
        <a:srgbClr val="686868"/>
      </a:accent5>
      <a:accent6>
        <a:srgbClr val="3F3F3F"/>
      </a:accent6>
      <a:hlink>
        <a:srgbClr val="F33B48"/>
      </a:hlink>
      <a:folHlink>
        <a:srgbClr val="FFC000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3096</Words>
  <Application>WPS 演示</Application>
  <PresentationFormat>宽屏</PresentationFormat>
  <Paragraphs>446</Paragraphs>
  <Slides>11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23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35" baseType="lpstr">
      <vt:lpstr>Arial</vt:lpstr>
      <vt:lpstr>宋体</vt:lpstr>
      <vt:lpstr>Wingdings</vt:lpstr>
      <vt:lpstr>微软雅黑</vt:lpstr>
      <vt:lpstr>Neris Thin</vt:lpstr>
      <vt:lpstr>Gulim</vt:lpstr>
      <vt:lpstr>Bauhaus 93</vt:lpstr>
      <vt:lpstr>Impact</vt:lpstr>
      <vt:lpstr>Arial</vt:lpstr>
      <vt:lpstr>Calibri</vt:lpstr>
      <vt:lpstr>Malgun Gothic</vt:lpstr>
      <vt:lpstr>方正姚体</vt:lpstr>
      <vt:lpstr>仿宋</vt:lpstr>
      <vt:lpstr>华文琥珀</vt:lpstr>
      <vt:lpstr>楷体</vt:lpstr>
      <vt:lpstr>华文楷体</vt:lpstr>
      <vt:lpstr>Adobe 仿宋 Std R</vt:lpstr>
      <vt:lpstr>华文仿宋</vt:lpstr>
      <vt:lpstr>幼圆</vt:lpstr>
      <vt:lpstr>Wingdings</vt:lpstr>
      <vt:lpstr>Arial Unicode MS</vt:lpstr>
      <vt:lpstr>Gabriola</vt:lpstr>
      <vt:lpstr>Segoe Print</vt:lpstr>
      <vt:lpstr>主题6</vt:lpstr>
      <vt:lpstr>mealprep®  功能性饮食创新坊</vt:lpstr>
      <vt:lpstr>人工智能饮食变革：人工智能将会如何重塑我们的饮食生活？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iSlide</Company>
  <LinksUpToDate>false</LinksUpToDate>
  <SharedDoc>false</SharedDoc>
  <HyperlinksChanged>false</HyperlinksChanged>
  <AppVersion>14.0000</AppVersion>
  <Manager>iSlide</Manager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category>oral defense</cp:category>
  <cp:lastModifiedBy>Kristy</cp:lastModifiedBy>
  <cp:revision>141</cp:revision>
  <cp:lastPrinted>2018-02-05T16:00:00Z</cp:lastPrinted>
  <dcterms:created xsi:type="dcterms:W3CDTF">2018-02-05T16:00:00Z</dcterms:created>
  <dcterms:modified xsi:type="dcterms:W3CDTF">2020-03-26T02:2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753274a3-d12c-43a4-9eff-64603729bf8b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Owner">
    <vt:lpwstr>t-shyu@microsoft.com</vt:lpwstr>
  </property>
  <property fmtid="{D5CDD505-2E9C-101B-9397-08002B2CF9AE}" pid="6" name="MSIP_Label_f42aa342-8706-4288-bd11-ebb85995028c_SetDate">
    <vt:lpwstr>2018-08-30T08:49:16.1259888Z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  <property fmtid="{D5CDD505-2E9C-101B-9397-08002B2CF9AE}" pid="11" name="KSOProductBuildVer">
    <vt:lpwstr>2052-11.1.0.9513</vt:lpwstr>
  </property>
</Properties>
</file>